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>
  <p:sldMasterIdLst>
    <p:sldMasterId id="2147483853" r:id="rId4"/>
    <p:sldMasterId id="2147483865" r:id="rId5"/>
    <p:sldMasterId id="2147483871" r:id="rId6"/>
  </p:sldMasterIdLst>
  <p:notesMasterIdLst>
    <p:notesMasterId r:id="rId36"/>
  </p:notesMasterIdLst>
  <p:handoutMasterIdLst>
    <p:handoutMasterId r:id="rId37"/>
  </p:handoutMasterIdLst>
  <p:sldIdLst>
    <p:sldId id="444" r:id="rId7"/>
    <p:sldId id="491" r:id="rId8"/>
    <p:sldId id="488" r:id="rId9"/>
    <p:sldId id="490" r:id="rId10"/>
    <p:sldId id="477" r:id="rId11"/>
    <p:sldId id="493" r:id="rId12"/>
    <p:sldId id="484" r:id="rId13"/>
    <p:sldId id="363" r:id="rId14"/>
    <p:sldId id="480" r:id="rId15"/>
    <p:sldId id="486" r:id="rId16"/>
    <p:sldId id="481" r:id="rId17"/>
    <p:sldId id="456" r:id="rId18"/>
    <p:sldId id="485" r:id="rId19"/>
    <p:sldId id="482" r:id="rId20"/>
    <p:sldId id="492" r:id="rId21"/>
    <p:sldId id="483" r:id="rId22"/>
    <p:sldId id="379" r:id="rId23"/>
    <p:sldId id="487" r:id="rId24"/>
    <p:sldId id="453" r:id="rId25"/>
    <p:sldId id="376" r:id="rId26"/>
    <p:sldId id="447" r:id="rId27"/>
    <p:sldId id="443" r:id="rId28"/>
    <p:sldId id="463" r:id="rId29"/>
    <p:sldId id="464" r:id="rId30"/>
    <p:sldId id="465" r:id="rId31"/>
    <p:sldId id="466" r:id="rId32"/>
    <p:sldId id="470" r:id="rId33"/>
    <p:sldId id="467" r:id="rId34"/>
    <p:sldId id="468" r:id="rId35"/>
  </p:sldIdLst>
  <p:sldSz cx="9144000" cy="6858000" type="screen4x3"/>
  <p:notesSz cx="6997700" cy="9283700"/>
  <p:embeddedFontLst>
    <p:embeddedFont>
      <p:font typeface="Museo For Dell" panose="020B0604020202020204" charset="-18"/>
      <p:regular r:id="rId38"/>
      <p:bold r:id="rId39"/>
    </p:embeddedFont>
    <p:embeddedFont>
      <p:font typeface="Arial Black" panose="020B0A04020102020204" pitchFamily="34" charset="0"/>
      <p:bold r:id="rId40"/>
    </p:embeddedFont>
    <p:embeddedFont>
      <p:font typeface="Museo For Dell 300" panose="02000000000000000000" charset="-18"/>
      <p:regular r:id="rId41"/>
    </p:embeddedFont>
    <p:embeddedFont>
      <p:font typeface="museo sans for dell" panose="020B0604020202020204" charset="-18"/>
      <p:regular r:id="rId42"/>
      <p:bold r:id="rId43"/>
    </p:embeddedFont>
    <p:embeddedFont>
      <p:font typeface="Trebuchet MS" panose="020B0603020202020204" pitchFamily="34" charset="0"/>
      <p:regular r:id="rId44"/>
      <p:bold r:id="rId45"/>
      <p:italic r:id="rId46"/>
      <p:boldItalic r:id="rId47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295A"/>
    <a:srgbClr val="444444"/>
    <a:srgbClr val="F2AF00"/>
    <a:srgbClr val="7AB800"/>
    <a:srgbClr val="EEEEEE"/>
    <a:srgbClr val="DC5034"/>
    <a:srgbClr val="FF7700"/>
    <a:srgbClr val="D42E12"/>
    <a:srgbClr val="6E2585"/>
    <a:srgbClr val="71C6C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9720" autoAdjust="0"/>
    <p:restoredTop sz="85613" autoAdjust="0"/>
  </p:normalViewPr>
  <p:slideViewPr>
    <p:cSldViewPr snapToGrid="0">
      <p:cViewPr varScale="1">
        <p:scale>
          <a:sx n="93" d="100"/>
          <a:sy n="93" d="100"/>
        </p:scale>
        <p:origin x="-1584" y="-96"/>
      </p:cViewPr>
      <p:guideLst>
        <p:guide orient="horz" pos="4319"/>
        <p:guide pos="2909"/>
      </p:guideLst>
    </p:cSldViewPr>
  </p:slideViewPr>
  <p:outlineViewPr>
    <p:cViewPr>
      <p:scale>
        <a:sx n="33" d="100"/>
        <a:sy n="33" d="100"/>
      </p:scale>
      <p:origin x="0" y="365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2790" y="-96"/>
      </p:cViewPr>
      <p:guideLst>
        <p:guide orient="horz" pos="2924"/>
        <p:guide pos="22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font" Target="fonts/font6.fntdata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A0412B-76EB-41F3-95E5-A4A018BB883C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E992DD4-50DE-43C7-86E9-E9F2C219C358}">
      <dgm:prSet phldrT="[Text]"/>
      <dgm:spPr/>
      <dgm:t>
        <a:bodyPr/>
        <a:lstStyle/>
        <a:p>
          <a:endParaRPr lang="en-US" dirty="0"/>
        </a:p>
      </dgm:t>
    </dgm:pt>
    <dgm:pt modelId="{6B53FCAC-5CD0-4D0F-9904-89CBE31934FA}" type="parTrans" cxnId="{C1E3D0B4-0851-4F2F-BF42-78601E92DE7C}">
      <dgm:prSet/>
      <dgm:spPr/>
      <dgm:t>
        <a:bodyPr/>
        <a:lstStyle/>
        <a:p>
          <a:endParaRPr lang="en-US"/>
        </a:p>
      </dgm:t>
    </dgm:pt>
    <dgm:pt modelId="{FFF9A4D4-21E1-4D6D-BAFA-662282D9A029}" type="sibTrans" cxnId="{C1E3D0B4-0851-4F2F-BF42-78601E92DE7C}">
      <dgm:prSet/>
      <dgm:spPr/>
      <dgm:t>
        <a:bodyPr/>
        <a:lstStyle/>
        <a:p>
          <a:endParaRPr lang="en-US"/>
        </a:p>
      </dgm:t>
    </dgm:pt>
    <dgm:pt modelId="{624CC838-F103-4B8E-8EAC-B20B40A2830E}">
      <dgm:prSet phldrT="[Text]" custT="1"/>
      <dgm:spPr/>
      <dgm:t>
        <a:bodyPr/>
        <a:lstStyle/>
        <a:p>
          <a:r>
            <a:rPr lang="en-US" sz="1600" dirty="0" smtClean="0"/>
            <a:t>External sales force, marketing</a:t>
          </a:r>
          <a:endParaRPr lang="en-US" sz="1600" dirty="0"/>
        </a:p>
      </dgm:t>
    </dgm:pt>
    <dgm:pt modelId="{309EFC46-CC09-4A35-90AD-4013E1CCF67C}" type="parTrans" cxnId="{A75B872E-14E7-456C-87E4-FB7D5FDA414A}">
      <dgm:prSet/>
      <dgm:spPr/>
      <dgm:t>
        <a:bodyPr/>
        <a:lstStyle/>
        <a:p>
          <a:endParaRPr lang="en-US"/>
        </a:p>
      </dgm:t>
    </dgm:pt>
    <dgm:pt modelId="{C4331157-3C1C-4CE7-98E8-BB30BF756679}" type="sibTrans" cxnId="{A75B872E-14E7-456C-87E4-FB7D5FDA414A}">
      <dgm:prSet/>
      <dgm:spPr/>
      <dgm:t>
        <a:bodyPr/>
        <a:lstStyle/>
        <a:p>
          <a:endParaRPr lang="en-US"/>
        </a:p>
      </dgm:t>
    </dgm:pt>
    <dgm:pt modelId="{FFE32A8F-3099-4706-BCAD-56FCB3EA1A55}">
      <dgm:prSet phldrT="[Text]"/>
      <dgm:spPr/>
      <dgm:t>
        <a:bodyPr/>
        <a:lstStyle/>
        <a:p>
          <a:endParaRPr lang="en-US" dirty="0"/>
        </a:p>
      </dgm:t>
    </dgm:pt>
    <dgm:pt modelId="{3413D970-1CCB-4B29-8795-2F9A0D3C010A}" type="parTrans" cxnId="{03D1FEE9-9F1A-46A9-9D84-AE2C71E56117}">
      <dgm:prSet/>
      <dgm:spPr/>
      <dgm:t>
        <a:bodyPr/>
        <a:lstStyle/>
        <a:p>
          <a:endParaRPr lang="en-US"/>
        </a:p>
      </dgm:t>
    </dgm:pt>
    <dgm:pt modelId="{C52349FA-3F3F-45A5-A461-E1645804ED4B}" type="sibTrans" cxnId="{03D1FEE9-9F1A-46A9-9D84-AE2C71E56117}">
      <dgm:prSet/>
      <dgm:spPr/>
      <dgm:t>
        <a:bodyPr/>
        <a:lstStyle/>
        <a:p>
          <a:endParaRPr lang="en-US"/>
        </a:p>
      </dgm:t>
    </dgm:pt>
    <dgm:pt modelId="{CF1FAAA9-3140-4945-9608-37637B693B12}">
      <dgm:prSet phldrT="[Text]" custT="1"/>
      <dgm:spPr/>
      <dgm:t>
        <a:bodyPr/>
        <a:lstStyle/>
        <a:p>
          <a:r>
            <a:rPr lang="en-US" sz="1600" dirty="0" smtClean="0"/>
            <a:t>Lack of contact with end user</a:t>
          </a:r>
          <a:endParaRPr lang="en-US" sz="1600" dirty="0"/>
        </a:p>
      </dgm:t>
    </dgm:pt>
    <dgm:pt modelId="{75EF075C-DDE2-45AD-8EEA-763B7C6BB4C4}" type="parTrans" cxnId="{E9BA8BEF-7E7D-4848-8A38-93B795A2BA34}">
      <dgm:prSet/>
      <dgm:spPr/>
      <dgm:t>
        <a:bodyPr/>
        <a:lstStyle/>
        <a:p>
          <a:endParaRPr lang="en-US"/>
        </a:p>
      </dgm:t>
    </dgm:pt>
    <dgm:pt modelId="{E9EC9B1D-FFF7-4D4D-B402-272F159B6ACD}" type="sibTrans" cxnId="{E9BA8BEF-7E7D-4848-8A38-93B795A2BA34}">
      <dgm:prSet/>
      <dgm:spPr/>
      <dgm:t>
        <a:bodyPr/>
        <a:lstStyle/>
        <a:p>
          <a:endParaRPr lang="en-US"/>
        </a:p>
      </dgm:t>
    </dgm:pt>
    <dgm:pt modelId="{6E6D7B3B-7DB0-4822-AC4C-4CEB8288386B}">
      <dgm:prSet custT="1"/>
      <dgm:spPr/>
      <dgm:t>
        <a:bodyPr/>
        <a:lstStyle/>
        <a:p>
          <a:r>
            <a:rPr lang="en-US" sz="1600" dirty="0" smtClean="0"/>
            <a:t>Easier coverage of new / minor markets (sales force, customer preferences, market restrictions etc.)</a:t>
          </a:r>
        </a:p>
      </dgm:t>
    </dgm:pt>
    <dgm:pt modelId="{52680350-5A6C-41F6-A9B0-B1E80357A129}" type="parTrans" cxnId="{24866FFB-4189-4364-9F5A-FB0B230C4883}">
      <dgm:prSet/>
      <dgm:spPr/>
      <dgm:t>
        <a:bodyPr/>
        <a:lstStyle/>
        <a:p>
          <a:endParaRPr lang="en-US"/>
        </a:p>
      </dgm:t>
    </dgm:pt>
    <dgm:pt modelId="{97FE74CA-1ABF-48F1-8B7E-0D758D00C61B}" type="sibTrans" cxnId="{24866FFB-4189-4364-9F5A-FB0B230C4883}">
      <dgm:prSet/>
      <dgm:spPr/>
      <dgm:t>
        <a:bodyPr/>
        <a:lstStyle/>
        <a:p>
          <a:endParaRPr lang="en-US"/>
        </a:p>
      </dgm:t>
    </dgm:pt>
    <dgm:pt modelId="{6F869E7A-D51A-4CC3-A7B4-648AD2D0CF4F}">
      <dgm:prSet custT="1"/>
      <dgm:spPr/>
      <dgm:t>
        <a:bodyPr/>
        <a:lstStyle/>
        <a:p>
          <a:r>
            <a:rPr lang="en-US" sz="1600" dirty="0" smtClean="0"/>
            <a:t>No need to have too diverse product portfolio</a:t>
          </a:r>
        </a:p>
      </dgm:t>
    </dgm:pt>
    <dgm:pt modelId="{581393EF-28C7-4168-AE81-9411D63FBD0F}" type="parTrans" cxnId="{662661D4-9240-466A-83EF-69828A792DCC}">
      <dgm:prSet/>
      <dgm:spPr/>
      <dgm:t>
        <a:bodyPr/>
        <a:lstStyle/>
        <a:p>
          <a:endParaRPr lang="en-US"/>
        </a:p>
      </dgm:t>
    </dgm:pt>
    <dgm:pt modelId="{51B71685-28A9-4E0F-AA21-A43A882844D8}" type="sibTrans" cxnId="{662661D4-9240-466A-83EF-69828A792DCC}">
      <dgm:prSet/>
      <dgm:spPr/>
      <dgm:t>
        <a:bodyPr/>
        <a:lstStyle/>
        <a:p>
          <a:endParaRPr lang="en-US"/>
        </a:p>
      </dgm:t>
    </dgm:pt>
    <dgm:pt modelId="{DF49752E-D92B-4A79-A016-ED2287314521}">
      <dgm:prSet custT="1"/>
      <dgm:spPr/>
      <dgm:t>
        <a:bodyPr/>
        <a:lstStyle/>
        <a:p>
          <a:r>
            <a:rPr lang="en-US" sz="1600" dirty="0" smtClean="0"/>
            <a:t>Ability to provide a solution or consultancy</a:t>
          </a:r>
        </a:p>
      </dgm:t>
    </dgm:pt>
    <dgm:pt modelId="{68654855-4A9A-4DCD-91A7-385E717007B9}" type="parTrans" cxnId="{B0D986CA-A9D9-4E6F-8D67-56F979F93191}">
      <dgm:prSet/>
      <dgm:spPr/>
      <dgm:t>
        <a:bodyPr/>
        <a:lstStyle/>
        <a:p>
          <a:endParaRPr lang="en-US"/>
        </a:p>
      </dgm:t>
    </dgm:pt>
    <dgm:pt modelId="{F963A956-7F12-4BBE-AD89-D8959C21394E}" type="sibTrans" cxnId="{B0D986CA-A9D9-4E6F-8D67-56F979F93191}">
      <dgm:prSet/>
      <dgm:spPr/>
      <dgm:t>
        <a:bodyPr/>
        <a:lstStyle/>
        <a:p>
          <a:endParaRPr lang="en-US"/>
        </a:p>
      </dgm:t>
    </dgm:pt>
    <dgm:pt modelId="{7D2DA013-EB33-4A4E-83BF-2F4751E2D129}">
      <dgm:prSet custT="1"/>
      <dgm:spPr/>
      <dgm:t>
        <a:bodyPr/>
        <a:lstStyle/>
        <a:p>
          <a:r>
            <a:rPr lang="en-US" sz="1600" dirty="0" smtClean="0"/>
            <a:t>Customer can see or touch product</a:t>
          </a:r>
        </a:p>
      </dgm:t>
    </dgm:pt>
    <dgm:pt modelId="{101FC5BB-812C-46C0-B8E7-BD05DE4CE7FF}" type="parTrans" cxnId="{99B6EAA0-F4E7-493A-A68B-662819D5AB36}">
      <dgm:prSet/>
      <dgm:spPr/>
      <dgm:t>
        <a:bodyPr/>
        <a:lstStyle/>
        <a:p>
          <a:endParaRPr lang="en-US"/>
        </a:p>
      </dgm:t>
    </dgm:pt>
    <dgm:pt modelId="{98A59248-1401-416F-AC01-572331A3F4A8}" type="sibTrans" cxnId="{99B6EAA0-F4E7-493A-A68B-662819D5AB36}">
      <dgm:prSet/>
      <dgm:spPr/>
      <dgm:t>
        <a:bodyPr/>
        <a:lstStyle/>
        <a:p>
          <a:endParaRPr lang="en-US"/>
        </a:p>
      </dgm:t>
    </dgm:pt>
    <dgm:pt modelId="{61E064F6-DBDC-4C47-8E39-DFC88B3DD7C7}">
      <dgm:prSet custT="1"/>
      <dgm:spPr/>
      <dgm:t>
        <a:bodyPr/>
        <a:lstStyle/>
        <a:p>
          <a:r>
            <a:rPr lang="en-US" sz="1600" dirty="0" smtClean="0"/>
            <a:t>Supply chain management</a:t>
          </a:r>
        </a:p>
      </dgm:t>
    </dgm:pt>
    <dgm:pt modelId="{A667FD28-AB1A-4A03-BFED-059551AF0665}" type="parTrans" cxnId="{7C01147C-FFE8-4E7E-897C-1552EB806B04}">
      <dgm:prSet/>
      <dgm:spPr/>
      <dgm:t>
        <a:bodyPr/>
        <a:lstStyle/>
        <a:p>
          <a:endParaRPr lang="en-US"/>
        </a:p>
      </dgm:t>
    </dgm:pt>
    <dgm:pt modelId="{183E2E81-37E9-44C1-9F33-B8A53B7DA7A8}" type="sibTrans" cxnId="{7C01147C-FFE8-4E7E-897C-1552EB806B04}">
      <dgm:prSet/>
      <dgm:spPr/>
      <dgm:t>
        <a:bodyPr/>
        <a:lstStyle/>
        <a:p>
          <a:endParaRPr lang="en-US"/>
        </a:p>
      </dgm:t>
    </dgm:pt>
    <dgm:pt modelId="{58D5F680-B214-4576-98FA-9FB747F9FC8A}">
      <dgm:prSet custT="1"/>
      <dgm:spPr/>
      <dgm:t>
        <a:bodyPr/>
        <a:lstStyle/>
        <a:p>
          <a:r>
            <a:rPr lang="en-US" sz="1600" dirty="0" smtClean="0"/>
            <a:t>Risk that reseller will not know the product portfolio well</a:t>
          </a:r>
        </a:p>
      </dgm:t>
    </dgm:pt>
    <dgm:pt modelId="{36F103A7-1ADE-42F3-B24C-26A0651E3774}" type="parTrans" cxnId="{102DC1B3-AA81-438E-B389-F3EE3F6C15A6}">
      <dgm:prSet/>
      <dgm:spPr/>
      <dgm:t>
        <a:bodyPr/>
        <a:lstStyle/>
        <a:p>
          <a:endParaRPr lang="en-US"/>
        </a:p>
      </dgm:t>
    </dgm:pt>
    <dgm:pt modelId="{73D7AEDD-EA60-4C89-BF8D-8C3ACB5D6AC3}" type="sibTrans" cxnId="{102DC1B3-AA81-438E-B389-F3EE3F6C15A6}">
      <dgm:prSet/>
      <dgm:spPr/>
      <dgm:t>
        <a:bodyPr/>
        <a:lstStyle/>
        <a:p>
          <a:endParaRPr lang="en-US"/>
        </a:p>
      </dgm:t>
    </dgm:pt>
    <dgm:pt modelId="{3AA52C58-CB62-4CAC-82AA-D9E14FD608BC}">
      <dgm:prSet custT="1"/>
      <dgm:spPr/>
      <dgm:t>
        <a:bodyPr/>
        <a:lstStyle/>
        <a:p>
          <a:r>
            <a:rPr lang="en-US" sz="1600" dirty="0" smtClean="0"/>
            <a:t>Risk that reseller will prefer to sell competitor’s products (on shelf placement etc.</a:t>
          </a:r>
        </a:p>
      </dgm:t>
    </dgm:pt>
    <dgm:pt modelId="{5CE446D4-837D-40D1-B42C-4C90A18B9336}" type="parTrans" cxnId="{5F71BA88-D41F-4A56-812D-10AF3527FC86}">
      <dgm:prSet/>
      <dgm:spPr/>
      <dgm:t>
        <a:bodyPr/>
        <a:lstStyle/>
        <a:p>
          <a:endParaRPr lang="en-US"/>
        </a:p>
      </dgm:t>
    </dgm:pt>
    <dgm:pt modelId="{5C1D9ABE-1076-406A-8569-4D35FCAC1822}" type="sibTrans" cxnId="{5F71BA88-D41F-4A56-812D-10AF3527FC86}">
      <dgm:prSet/>
      <dgm:spPr/>
      <dgm:t>
        <a:bodyPr/>
        <a:lstStyle/>
        <a:p>
          <a:endParaRPr lang="en-US"/>
        </a:p>
      </dgm:t>
    </dgm:pt>
    <dgm:pt modelId="{EA4BB0E2-7689-4092-8406-F0F863C45ED0}">
      <dgm:prSet custT="1"/>
      <dgm:spPr/>
      <dgm:t>
        <a:bodyPr/>
        <a:lstStyle/>
        <a:p>
          <a:r>
            <a:rPr lang="en-US" sz="1600" dirty="0" smtClean="0"/>
            <a:t>Need to share margin</a:t>
          </a:r>
        </a:p>
      </dgm:t>
    </dgm:pt>
    <dgm:pt modelId="{6D725FA9-7CB0-44A6-9522-3F68F6676589}" type="parTrans" cxnId="{E7BB203D-0462-4B37-B236-8B26A3A8E3E0}">
      <dgm:prSet/>
      <dgm:spPr/>
      <dgm:t>
        <a:bodyPr/>
        <a:lstStyle/>
        <a:p>
          <a:endParaRPr lang="en-US"/>
        </a:p>
      </dgm:t>
    </dgm:pt>
    <dgm:pt modelId="{DECE204A-BE2B-42C6-AE7C-DDB85D10CB8A}" type="sibTrans" cxnId="{E7BB203D-0462-4B37-B236-8B26A3A8E3E0}">
      <dgm:prSet/>
      <dgm:spPr/>
      <dgm:t>
        <a:bodyPr/>
        <a:lstStyle/>
        <a:p>
          <a:endParaRPr lang="en-US"/>
        </a:p>
      </dgm:t>
    </dgm:pt>
    <dgm:pt modelId="{5EC97EE6-EC41-476C-AC3B-48D17C73E8F7}" type="pres">
      <dgm:prSet presAssocID="{9DA0412B-76EB-41F3-95E5-A4A018BB883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81D2857-297F-4BA7-9F0D-E4E652B3F504}" type="pres">
      <dgm:prSet presAssocID="{AE992DD4-50DE-43C7-86E9-E9F2C219C358}" presName="composite" presStyleCnt="0"/>
      <dgm:spPr/>
    </dgm:pt>
    <dgm:pt modelId="{8B1A9226-430B-427A-B8D3-72841211E8F9}" type="pres">
      <dgm:prSet presAssocID="{AE992DD4-50DE-43C7-86E9-E9F2C219C358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7C46E9-5F78-4F8B-808C-71E80FD0FE22}" type="pres">
      <dgm:prSet presAssocID="{AE992DD4-50DE-43C7-86E9-E9F2C219C358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DB2D87-C9CC-4BF8-A8F9-6282B0AFF9B7}" type="pres">
      <dgm:prSet presAssocID="{FFF9A4D4-21E1-4D6D-BAFA-662282D9A029}" presName="space" presStyleCnt="0"/>
      <dgm:spPr/>
    </dgm:pt>
    <dgm:pt modelId="{DB22A4D3-4556-4A90-8253-CEFF3B6378DB}" type="pres">
      <dgm:prSet presAssocID="{FFE32A8F-3099-4706-BCAD-56FCB3EA1A55}" presName="composite" presStyleCnt="0"/>
      <dgm:spPr/>
    </dgm:pt>
    <dgm:pt modelId="{B5885A50-E8D4-42AB-B430-34CA0BA83C94}" type="pres">
      <dgm:prSet presAssocID="{FFE32A8F-3099-4706-BCAD-56FCB3EA1A55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E907F0-5DC5-415A-B2A3-77F911CF4213}" type="pres">
      <dgm:prSet presAssocID="{FFE32A8F-3099-4706-BCAD-56FCB3EA1A55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BD9560-50A8-4417-9AC7-5DEDB4843372}" type="presOf" srcId="{61E064F6-DBDC-4C47-8E39-DFC88B3DD7C7}" destId="{01E907F0-5DC5-415A-B2A3-77F911CF4213}" srcOrd="0" destOrd="1" presId="urn:microsoft.com/office/officeart/2005/8/layout/hList1"/>
    <dgm:cxn modelId="{E9BA8BEF-7E7D-4848-8A38-93B795A2BA34}" srcId="{FFE32A8F-3099-4706-BCAD-56FCB3EA1A55}" destId="{CF1FAAA9-3140-4945-9608-37637B693B12}" srcOrd="0" destOrd="0" parTransId="{75EF075C-DDE2-45AD-8EEA-763B7C6BB4C4}" sibTransId="{E9EC9B1D-FFF7-4D4D-B402-272F159B6ACD}"/>
    <dgm:cxn modelId="{D85CEF4E-D2CA-45F0-B771-93B7F8CCDF63}" type="presOf" srcId="{7D2DA013-EB33-4A4E-83BF-2F4751E2D129}" destId="{6F7C46E9-5F78-4F8B-808C-71E80FD0FE22}" srcOrd="0" destOrd="4" presId="urn:microsoft.com/office/officeart/2005/8/layout/hList1"/>
    <dgm:cxn modelId="{5DE381E3-22B4-4DA8-9405-6E71A2CF0B2E}" type="presOf" srcId="{3AA52C58-CB62-4CAC-82AA-D9E14FD608BC}" destId="{01E907F0-5DC5-415A-B2A3-77F911CF4213}" srcOrd="0" destOrd="3" presId="urn:microsoft.com/office/officeart/2005/8/layout/hList1"/>
    <dgm:cxn modelId="{74DC9C99-3FCA-4ED6-B201-77C5D9A43016}" type="presOf" srcId="{9DA0412B-76EB-41F3-95E5-A4A018BB883C}" destId="{5EC97EE6-EC41-476C-AC3B-48D17C73E8F7}" srcOrd="0" destOrd="0" presId="urn:microsoft.com/office/officeart/2005/8/layout/hList1"/>
    <dgm:cxn modelId="{A75B872E-14E7-456C-87E4-FB7D5FDA414A}" srcId="{AE992DD4-50DE-43C7-86E9-E9F2C219C358}" destId="{624CC838-F103-4B8E-8EAC-B20B40A2830E}" srcOrd="0" destOrd="0" parTransId="{309EFC46-CC09-4A35-90AD-4013E1CCF67C}" sibTransId="{C4331157-3C1C-4CE7-98E8-BB30BF756679}"/>
    <dgm:cxn modelId="{A9EA3C72-54CA-4B70-BDD0-54554ADD810C}" type="presOf" srcId="{EA4BB0E2-7689-4092-8406-F0F863C45ED0}" destId="{01E907F0-5DC5-415A-B2A3-77F911CF4213}" srcOrd="0" destOrd="4" presId="urn:microsoft.com/office/officeart/2005/8/layout/hList1"/>
    <dgm:cxn modelId="{25D9EA24-EEB0-489B-A021-BD5568F8196E}" type="presOf" srcId="{624CC838-F103-4B8E-8EAC-B20B40A2830E}" destId="{6F7C46E9-5F78-4F8B-808C-71E80FD0FE22}" srcOrd="0" destOrd="0" presId="urn:microsoft.com/office/officeart/2005/8/layout/hList1"/>
    <dgm:cxn modelId="{99B6EAA0-F4E7-493A-A68B-662819D5AB36}" srcId="{AE992DD4-50DE-43C7-86E9-E9F2C219C358}" destId="{7D2DA013-EB33-4A4E-83BF-2F4751E2D129}" srcOrd="4" destOrd="0" parTransId="{101FC5BB-812C-46C0-B8E7-BD05DE4CE7FF}" sibTransId="{98A59248-1401-416F-AC01-572331A3F4A8}"/>
    <dgm:cxn modelId="{D042D854-4511-4FDA-BC48-8D3AFF806948}" type="presOf" srcId="{DF49752E-D92B-4A79-A016-ED2287314521}" destId="{6F7C46E9-5F78-4F8B-808C-71E80FD0FE22}" srcOrd="0" destOrd="3" presId="urn:microsoft.com/office/officeart/2005/8/layout/hList1"/>
    <dgm:cxn modelId="{5F71BA88-D41F-4A56-812D-10AF3527FC86}" srcId="{FFE32A8F-3099-4706-BCAD-56FCB3EA1A55}" destId="{3AA52C58-CB62-4CAC-82AA-D9E14FD608BC}" srcOrd="3" destOrd="0" parTransId="{5CE446D4-837D-40D1-B42C-4C90A18B9336}" sibTransId="{5C1D9ABE-1076-406A-8569-4D35FCAC1822}"/>
    <dgm:cxn modelId="{E7BB203D-0462-4B37-B236-8B26A3A8E3E0}" srcId="{FFE32A8F-3099-4706-BCAD-56FCB3EA1A55}" destId="{EA4BB0E2-7689-4092-8406-F0F863C45ED0}" srcOrd="4" destOrd="0" parTransId="{6D725FA9-7CB0-44A6-9522-3F68F6676589}" sibTransId="{DECE204A-BE2B-42C6-AE7C-DDB85D10CB8A}"/>
    <dgm:cxn modelId="{102DC1B3-AA81-438E-B389-F3EE3F6C15A6}" srcId="{FFE32A8F-3099-4706-BCAD-56FCB3EA1A55}" destId="{58D5F680-B214-4576-98FA-9FB747F9FC8A}" srcOrd="2" destOrd="0" parTransId="{36F103A7-1ADE-42F3-B24C-26A0651E3774}" sibTransId="{73D7AEDD-EA60-4C89-BF8D-8C3ACB5D6AC3}"/>
    <dgm:cxn modelId="{24866FFB-4189-4364-9F5A-FB0B230C4883}" srcId="{AE992DD4-50DE-43C7-86E9-E9F2C219C358}" destId="{6E6D7B3B-7DB0-4822-AC4C-4CEB8288386B}" srcOrd="1" destOrd="0" parTransId="{52680350-5A6C-41F6-A9B0-B1E80357A129}" sibTransId="{97FE74CA-1ABF-48F1-8B7E-0D758D00C61B}"/>
    <dgm:cxn modelId="{03D1FEE9-9F1A-46A9-9D84-AE2C71E56117}" srcId="{9DA0412B-76EB-41F3-95E5-A4A018BB883C}" destId="{FFE32A8F-3099-4706-BCAD-56FCB3EA1A55}" srcOrd="1" destOrd="0" parTransId="{3413D970-1CCB-4B29-8795-2F9A0D3C010A}" sibTransId="{C52349FA-3F3F-45A5-A461-E1645804ED4B}"/>
    <dgm:cxn modelId="{140D3B4D-44EC-41D8-879F-C506F9115791}" type="presOf" srcId="{FFE32A8F-3099-4706-BCAD-56FCB3EA1A55}" destId="{B5885A50-E8D4-42AB-B430-34CA0BA83C94}" srcOrd="0" destOrd="0" presId="urn:microsoft.com/office/officeart/2005/8/layout/hList1"/>
    <dgm:cxn modelId="{1EEBCEA7-93E1-4091-87D0-A6BAC86F0976}" type="presOf" srcId="{6E6D7B3B-7DB0-4822-AC4C-4CEB8288386B}" destId="{6F7C46E9-5F78-4F8B-808C-71E80FD0FE22}" srcOrd="0" destOrd="1" presId="urn:microsoft.com/office/officeart/2005/8/layout/hList1"/>
    <dgm:cxn modelId="{3D762095-A876-43C4-A809-72CDC10CACAF}" type="presOf" srcId="{6F869E7A-D51A-4CC3-A7B4-648AD2D0CF4F}" destId="{6F7C46E9-5F78-4F8B-808C-71E80FD0FE22}" srcOrd="0" destOrd="2" presId="urn:microsoft.com/office/officeart/2005/8/layout/hList1"/>
    <dgm:cxn modelId="{1621D56F-8766-488F-A6CB-41FE1B800274}" type="presOf" srcId="{CF1FAAA9-3140-4945-9608-37637B693B12}" destId="{01E907F0-5DC5-415A-B2A3-77F911CF4213}" srcOrd="0" destOrd="0" presId="urn:microsoft.com/office/officeart/2005/8/layout/hList1"/>
    <dgm:cxn modelId="{C1E3D0B4-0851-4F2F-BF42-78601E92DE7C}" srcId="{9DA0412B-76EB-41F3-95E5-A4A018BB883C}" destId="{AE992DD4-50DE-43C7-86E9-E9F2C219C358}" srcOrd="0" destOrd="0" parTransId="{6B53FCAC-5CD0-4D0F-9904-89CBE31934FA}" sibTransId="{FFF9A4D4-21E1-4D6D-BAFA-662282D9A029}"/>
    <dgm:cxn modelId="{6FE0161B-FC34-4F20-B779-40804377BDB3}" type="presOf" srcId="{58D5F680-B214-4576-98FA-9FB747F9FC8A}" destId="{01E907F0-5DC5-415A-B2A3-77F911CF4213}" srcOrd="0" destOrd="2" presId="urn:microsoft.com/office/officeart/2005/8/layout/hList1"/>
    <dgm:cxn modelId="{9AD419FE-7941-4B62-8827-C824C59DE41A}" type="presOf" srcId="{AE992DD4-50DE-43C7-86E9-E9F2C219C358}" destId="{8B1A9226-430B-427A-B8D3-72841211E8F9}" srcOrd="0" destOrd="0" presId="urn:microsoft.com/office/officeart/2005/8/layout/hList1"/>
    <dgm:cxn modelId="{B0D986CA-A9D9-4E6F-8D67-56F979F93191}" srcId="{AE992DD4-50DE-43C7-86E9-E9F2C219C358}" destId="{DF49752E-D92B-4A79-A016-ED2287314521}" srcOrd="3" destOrd="0" parTransId="{68654855-4A9A-4DCD-91A7-385E717007B9}" sibTransId="{F963A956-7F12-4BBE-AD89-D8959C21394E}"/>
    <dgm:cxn modelId="{662661D4-9240-466A-83EF-69828A792DCC}" srcId="{AE992DD4-50DE-43C7-86E9-E9F2C219C358}" destId="{6F869E7A-D51A-4CC3-A7B4-648AD2D0CF4F}" srcOrd="2" destOrd="0" parTransId="{581393EF-28C7-4168-AE81-9411D63FBD0F}" sibTransId="{51B71685-28A9-4E0F-AA21-A43A882844D8}"/>
    <dgm:cxn modelId="{7C01147C-FFE8-4E7E-897C-1552EB806B04}" srcId="{FFE32A8F-3099-4706-BCAD-56FCB3EA1A55}" destId="{61E064F6-DBDC-4C47-8E39-DFC88B3DD7C7}" srcOrd="1" destOrd="0" parTransId="{A667FD28-AB1A-4A03-BFED-059551AF0665}" sibTransId="{183E2E81-37E9-44C1-9F33-B8A53B7DA7A8}"/>
    <dgm:cxn modelId="{23F281D5-E8A9-4F6E-805F-352262FEAD61}" type="presParOf" srcId="{5EC97EE6-EC41-476C-AC3B-48D17C73E8F7}" destId="{D81D2857-297F-4BA7-9F0D-E4E652B3F504}" srcOrd="0" destOrd="0" presId="urn:microsoft.com/office/officeart/2005/8/layout/hList1"/>
    <dgm:cxn modelId="{01B0E526-94E0-47A2-AF3F-5433E7EB2352}" type="presParOf" srcId="{D81D2857-297F-4BA7-9F0D-E4E652B3F504}" destId="{8B1A9226-430B-427A-B8D3-72841211E8F9}" srcOrd="0" destOrd="0" presId="urn:microsoft.com/office/officeart/2005/8/layout/hList1"/>
    <dgm:cxn modelId="{3EA5C3FC-4780-466E-8FA4-D0B2542C331F}" type="presParOf" srcId="{D81D2857-297F-4BA7-9F0D-E4E652B3F504}" destId="{6F7C46E9-5F78-4F8B-808C-71E80FD0FE22}" srcOrd="1" destOrd="0" presId="urn:microsoft.com/office/officeart/2005/8/layout/hList1"/>
    <dgm:cxn modelId="{09F28E3D-5F06-4310-BDA8-65042E49B21F}" type="presParOf" srcId="{5EC97EE6-EC41-476C-AC3B-48D17C73E8F7}" destId="{FEDB2D87-C9CC-4BF8-A8F9-6282B0AFF9B7}" srcOrd="1" destOrd="0" presId="urn:microsoft.com/office/officeart/2005/8/layout/hList1"/>
    <dgm:cxn modelId="{D0F09718-1D98-41B5-B112-8FBBF819EB10}" type="presParOf" srcId="{5EC97EE6-EC41-476C-AC3B-48D17C73E8F7}" destId="{DB22A4D3-4556-4A90-8253-CEFF3B6378DB}" srcOrd="2" destOrd="0" presId="urn:microsoft.com/office/officeart/2005/8/layout/hList1"/>
    <dgm:cxn modelId="{CBCFC7E9-2CE1-42DF-B400-C752428BA2ED}" type="presParOf" srcId="{DB22A4D3-4556-4A90-8253-CEFF3B6378DB}" destId="{B5885A50-E8D4-42AB-B430-34CA0BA83C94}" srcOrd="0" destOrd="0" presId="urn:microsoft.com/office/officeart/2005/8/layout/hList1"/>
    <dgm:cxn modelId="{10FDC982-DCF7-4D2D-8851-FE482DE994A4}" type="presParOf" srcId="{DB22A4D3-4556-4A90-8253-CEFF3B6378DB}" destId="{01E907F0-5DC5-415A-B2A3-77F911CF421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B0A8DF7-2577-459F-833C-84B18D0B90E6}" type="doc">
      <dgm:prSet loTypeId="urn:microsoft.com/office/officeart/2005/8/layout/hList1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2D8997E2-AE3B-4D65-B7E4-6A4D145CE21B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Registered Partners</a:t>
          </a:r>
        </a:p>
      </dgm:t>
    </dgm:pt>
    <dgm:pt modelId="{E4D396DC-9572-46C6-B852-FBFCFDD7BEC1}" type="parTrans" cxnId="{E095A6E8-9A34-436D-B12B-EDDA5E63FFC5}">
      <dgm:prSet/>
      <dgm:spPr/>
      <dgm:t>
        <a:bodyPr/>
        <a:lstStyle/>
        <a:p>
          <a:endParaRPr lang="en-US" sz="1800"/>
        </a:p>
      </dgm:t>
    </dgm:pt>
    <dgm:pt modelId="{1AFD46C1-2BF8-4A2B-8713-6C1B8A19F99A}" type="sibTrans" cxnId="{E095A6E8-9A34-436D-B12B-EDDA5E63FFC5}">
      <dgm:prSet/>
      <dgm:spPr/>
      <dgm:t>
        <a:bodyPr/>
        <a:lstStyle/>
        <a:p>
          <a:endParaRPr lang="en-US" sz="1800"/>
        </a:p>
      </dgm:t>
    </dgm:pt>
    <dgm:pt modelId="{A8D53668-12C2-4BF1-B489-C5A4E08D57D3}">
      <dgm:prSet phldrT="[Text]" custT="1"/>
      <dgm:spPr/>
      <dgm:t>
        <a:bodyPr/>
        <a:lstStyle/>
        <a:p>
          <a:r>
            <a:rPr lang="en-US" sz="1800" dirty="0" smtClean="0"/>
            <a:t>Entry program for most partners</a:t>
          </a:r>
          <a:endParaRPr lang="en-US" sz="1800" dirty="0"/>
        </a:p>
      </dgm:t>
    </dgm:pt>
    <dgm:pt modelId="{B55C07E0-DE9B-4315-9667-1F3613B7E7C0}" type="parTrans" cxnId="{E88FA9B1-6328-4AE2-A64C-B36426F66758}">
      <dgm:prSet/>
      <dgm:spPr/>
      <dgm:t>
        <a:bodyPr/>
        <a:lstStyle/>
        <a:p>
          <a:endParaRPr lang="en-US" sz="1800"/>
        </a:p>
      </dgm:t>
    </dgm:pt>
    <dgm:pt modelId="{23335524-F10F-40AC-AF7C-CFF5D611D1FD}" type="sibTrans" cxnId="{E88FA9B1-6328-4AE2-A64C-B36426F66758}">
      <dgm:prSet/>
      <dgm:spPr/>
      <dgm:t>
        <a:bodyPr/>
        <a:lstStyle/>
        <a:p>
          <a:endParaRPr lang="en-US" sz="1800"/>
        </a:p>
      </dgm:t>
    </dgm:pt>
    <dgm:pt modelId="{D7E7C6AC-1613-4558-8F95-F67F2C7D2A90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Preferred Partners</a:t>
          </a:r>
        </a:p>
      </dgm:t>
    </dgm:pt>
    <dgm:pt modelId="{C0DA2AE8-64CD-4A7B-9E68-6183F74E296F}" type="parTrans" cxnId="{273CA670-E95E-4BF3-A209-B7F06A7CADB1}">
      <dgm:prSet/>
      <dgm:spPr/>
      <dgm:t>
        <a:bodyPr/>
        <a:lstStyle/>
        <a:p>
          <a:endParaRPr lang="en-US" sz="1800"/>
        </a:p>
      </dgm:t>
    </dgm:pt>
    <dgm:pt modelId="{375564EF-5056-4583-BE41-220AEA21747B}" type="sibTrans" cxnId="{273CA670-E95E-4BF3-A209-B7F06A7CADB1}">
      <dgm:prSet/>
      <dgm:spPr/>
      <dgm:t>
        <a:bodyPr/>
        <a:lstStyle/>
        <a:p>
          <a:endParaRPr lang="en-US" sz="1800"/>
        </a:p>
      </dgm:t>
    </dgm:pt>
    <dgm:pt modelId="{5A9BF823-48EC-4B95-99D3-BA28602D47DA}">
      <dgm:prSet phldrT="[Text]" custT="1"/>
      <dgm:spPr/>
      <dgm:t>
        <a:bodyPr/>
        <a:lstStyle/>
        <a:p>
          <a:r>
            <a:rPr lang="en-US" sz="1800" dirty="0" smtClean="0"/>
            <a:t>Assigned account manager</a:t>
          </a:r>
          <a:endParaRPr lang="en-US" sz="1800" dirty="0"/>
        </a:p>
      </dgm:t>
    </dgm:pt>
    <dgm:pt modelId="{0CFA1346-278F-4D01-9571-B2F94824EE65}" type="parTrans" cxnId="{FB989D40-63A5-4604-9664-193CE08C7F2C}">
      <dgm:prSet/>
      <dgm:spPr/>
      <dgm:t>
        <a:bodyPr/>
        <a:lstStyle/>
        <a:p>
          <a:endParaRPr lang="en-US" sz="1800"/>
        </a:p>
      </dgm:t>
    </dgm:pt>
    <dgm:pt modelId="{FEAE1D85-C6EE-4293-8508-27B33E99C3EA}" type="sibTrans" cxnId="{FB989D40-63A5-4604-9664-193CE08C7F2C}">
      <dgm:prSet/>
      <dgm:spPr/>
      <dgm:t>
        <a:bodyPr/>
        <a:lstStyle/>
        <a:p>
          <a:endParaRPr lang="en-US" sz="1800"/>
        </a:p>
      </dgm:t>
    </dgm:pt>
    <dgm:pt modelId="{697DF4E4-AB4D-4E94-A92B-1321302DB7E6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Premier Partners</a:t>
          </a:r>
        </a:p>
      </dgm:t>
    </dgm:pt>
    <dgm:pt modelId="{BFD0DAE0-B71E-471F-938E-0BA2F1662826}" type="parTrans" cxnId="{569656A4-011D-4FB8-9231-60F895555DE9}">
      <dgm:prSet/>
      <dgm:spPr/>
      <dgm:t>
        <a:bodyPr/>
        <a:lstStyle/>
        <a:p>
          <a:endParaRPr lang="en-US" sz="1800"/>
        </a:p>
      </dgm:t>
    </dgm:pt>
    <dgm:pt modelId="{472AB716-9D21-4770-AC4B-5A07E5BB15BE}" type="sibTrans" cxnId="{569656A4-011D-4FB8-9231-60F895555DE9}">
      <dgm:prSet/>
      <dgm:spPr/>
      <dgm:t>
        <a:bodyPr/>
        <a:lstStyle/>
        <a:p>
          <a:endParaRPr lang="en-US" sz="1800"/>
        </a:p>
      </dgm:t>
    </dgm:pt>
    <dgm:pt modelId="{B850013C-C558-49CA-8D16-50A7FB9351FA}">
      <dgm:prSet phldrT="[Text]" custT="1"/>
      <dgm:spPr/>
      <dgm:t>
        <a:bodyPr/>
        <a:lstStyle/>
        <a:p>
          <a:r>
            <a:rPr lang="en-US" sz="1800" dirty="0" smtClean="0"/>
            <a:t>Highest level of support from Dell</a:t>
          </a:r>
          <a:endParaRPr lang="en-US" sz="1800" dirty="0"/>
        </a:p>
      </dgm:t>
    </dgm:pt>
    <dgm:pt modelId="{7821ED18-CD9F-421D-BEB4-112DA2DA356E}" type="parTrans" cxnId="{7507D550-FCD8-4EBA-B9A0-C167DE4C32CB}">
      <dgm:prSet/>
      <dgm:spPr/>
      <dgm:t>
        <a:bodyPr/>
        <a:lstStyle/>
        <a:p>
          <a:endParaRPr lang="en-US" sz="1800"/>
        </a:p>
      </dgm:t>
    </dgm:pt>
    <dgm:pt modelId="{EB7C2CB5-5A33-4F39-9CF0-2995309BF0A9}" type="sibTrans" cxnId="{7507D550-FCD8-4EBA-B9A0-C167DE4C32CB}">
      <dgm:prSet/>
      <dgm:spPr/>
      <dgm:t>
        <a:bodyPr/>
        <a:lstStyle/>
        <a:p>
          <a:endParaRPr lang="en-US" sz="1800"/>
        </a:p>
      </dgm:t>
    </dgm:pt>
    <dgm:pt modelId="{D71D2CDE-5E35-4088-B95E-B3FB2D8ED62C}">
      <dgm:prSet custT="1"/>
      <dgm:spPr/>
      <dgm:t>
        <a:bodyPr/>
        <a:lstStyle/>
        <a:p>
          <a:r>
            <a:rPr lang="en-US" sz="1800" dirty="0" smtClean="0"/>
            <a:t>Grants access to Dell’s partner portal and customer support</a:t>
          </a:r>
          <a:endParaRPr lang="en-US" sz="1800" dirty="0"/>
        </a:p>
      </dgm:t>
    </dgm:pt>
    <dgm:pt modelId="{695DE1DC-32D8-465F-AC97-2DFDCC222D48}" type="parTrans" cxnId="{E019585B-CE10-4356-875E-BB23F0C974C7}">
      <dgm:prSet/>
      <dgm:spPr/>
      <dgm:t>
        <a:bodyPr/>
        <a:lstStyle/>
        <a:p>
          <a:endParaRPr lang="en-US" sz="1800"/>
        </a:p>
      </dgm:t>
    </dgm:pt>
    <dgm:pt modelId="{D959C49E-101C-48E9-B751-F7CF2BDFF531}" type="sibTrans" cxnId="{E019585B-CE10-4356-875E-BB23F0C974C7}">
      <dgm:prSet/>
      <dgm:spPr/>
      <dgm:t>
        <a:bodyPr/>
        <a:lstStyle/>
        <a:p>
          <a:endParaRPr lang="en-US" sz="1800"/>
        </a:p>
      </dgm:t>
    </dgm:pt>
    <dgm:pt modelId="{3FF207F9-849B-45C5-AA1A-11193CB08797}">
      <dgm:prSet custT="1"/>
      <dgm:spPr/>
      <dgm:t>
        <a:bodyPr/>
        <a:lstStyle/>
        <a:p>
          <a:r>
            <a:rPr lang="en-US" sz="1800" dirty="0" smtClean="0"/>
            <a:t>Access to trainings and certifications </a:t>
          </a:r>
          <a:endParaRPr lang="en-US" sz="1800" dirty="0"/>
        </a:p>
      </dgm:t>
    </dgm:pt>
    <dgm:pt modelId="{D3BEA58D-BE0A-4FE6-B71B-4215DECEF77C}" type="parTrans" cxnId="{21D77281-2552-4E49-8F3C-FBFD3EE6BB11}">
      <dgm:prSet/>
      <dgm:spPr/>
      <dgm:t>
        <a:bodyPr/>
        <a:lstStyle/>
        <a:p>
          <a:endParaRPr lang="en-US" sz="1800"/>
        </a:p>
      </dgm:t>
    </dgm:pt>
    <dgm:pt modelId="{B2831CCA-5B27-4143-BB27-5FBD0DDE2458}" type="sibTrans" cxnId="{21D77281-2552-4E49-8F3C-FBFD3EE6BB11}">
      <dgm:prSet/>
      <dgm:spPr/>
      <dgm:t>
        <a:bodyPr/>
        <a:lstStyle/>
        <a:p>
          <a:endParaRPr lang="en-US" sz="1800"/>
        </a:p>
      </dgm:t>
    </dgm:pt>
    <dgm:pt modelId="{637645A2-4F2C-46A1-9ABA-54BE33EA1C4F}">
      <dgm:prSet custT="1"/>
      <dgm:spPr/>
      <dgm:t>
        <a:bodyPr/>
        <a:lstStyle/>
        <a:p>
          <a:r>
            <a:rPr lang="en-US" sz="1800" dirty="0" smtClean="0"/>
            <a:t>Better return and payment conditions</a:t>
          </a:r>
          <a:endParaRPr lang="en-US" sz="1800" dirty="0"/>
        </a:p>
      </dgm:t>
    </dgm:pt>
    <dgm:pt modelId="{C6FBEA22-63B4-4F54-BD3E-7645BA60B572}" type="parTrans" cxnId="{A22246EC-16F0-4A74-9A23-5BCA1ED5E115}">
      <dgm:prSet/>
      <dgm:spPr/>
      <dgm:t>
        <a:bodyPr/>
        <a:lstStyle/>
        <a:p>
          <a:endParaRPr lang="en-US" sz="1800"/>
        </a:p>
      </dgm:t>
    </dgm:pt>
    <dgm:pt modelId="{96FB69ED-E04F-40A8-899E-40D42ADC8288}" type="sibTrans" cxnId="{A22246EC-16F0-4A74-9A23-5BCA1ED5E115}">
      <dgm:prSet/>
      <dgm:spPr/>
      <dgm:t>
        <a:bodyPr/>
        <a:lstStyle/>
        <a:p>
          <a:endParaRPr lang="en-US" sz="1800"/>
        </a:p>
      </dgm:t>
    </dgm:pt>
    <dgm:pt modelId="{39D433F0-2F06-415A-90EB-82DA63DC6112}">
      <dgm:prSet custT="1"/>
      <dgm:spPr/>
      <dgm:t>
        <a:bodyPr/>
        <a:lstStyle/>
        <a:p>
          <a:r>
            <a:rPr lang="en-US" sz="1800" dirty="0" smtClean="0"/>
            <a:t>Requires Dell certifications and minimal revenue threshold</a:t>
          </a:r>
          <a:endParaRPr lang="en-US" sz="1800" dirty="0"/>
        </a:p>
      </dgm:t>
    </dgm:pt>
    <dgm:pt modelId="{C7C3EF8E-5BAE-4F7D-8232-FB06327BB7D4}" type="parTrans" cxnId="{051A05A5-1AD5-4691-9179-FD082F1565A1}">
      <dgm:prSet/>
      <dgm:spPr/>
      <dgm:t>
        <a:bodyPr/>
        <a:lstStyle/>
        <a:p>
          <a:endParaRPr lang="en-US" sz="1800"/>
        </a:p>
      </dgm:t>
    </dgm:pt>
    <dgm:pt modelId="{7B4BA550-AB8E-495C-8804-9CF87FAE991A}" type="sibTrans" cxnId="{051A05A5-1AD5-4691-9179-FD082F1565A1}">
      <dgm:prSet/>
      <dgm:spPr/>
      <dgm:t>
        <a:bodyPr/>
        <a:lstStyle/>
        <a:p>
          <a:endParaRPr lang="en-US" sz="1800"/>
        </a:p>
      </dgm:t>
    </dgm:pt>
    <dgm:pt modelId="{42BBB702-D4E7-46B8-A6CC-B76A7F76E72A}">
      <dgm:prSet custT="1"/>
      <dgm:spPr/>
      <dgm:t>
        <a:bodyPr/>
        <a:lstStyle/>
        <a:p>
          <a:r>
            <a:rPr lang="en-US" sz="1800" dirty="0" smtClean="0"/>
            <a:t>Requires two or more Dell certifications and higher revenue threshold than Preferred</a:t>
          </a:r>
          <a:endParaRPr lang="en-US" sz="1800" dirty="0"/>
        </a:p>
      </dgm:t>
    </dgm:pt>
    <dgm:pt modelId="{B6676EA7-A143-4616-B363-1A3E68B5BB95}" type="parTrans" cxnId="{D728211F-87EB-44F0-9DB0-605B47195FB9}">
      <dgm:prSet/>
      <dgm:spPr/>
      <dgm:t>
        <a:bodyPr/>
        <a:lstStyle/>
        <a:p>
          <a:endParaRPr lang="en-US" sz="1800"/>
        </a:p>
      </dgm:t>
    </dgm:pt>
    <dgm:pt modelId="{4F194584-297E-45B0-88B3-E7E4BEB0D9AB}" type="sibTrans" cxnId="{D728211F-87EB-44F0-9DB0-605B47195FB9}">
      <dgm:prSet/>
      <dgm:spPr/>
      <dgm:t>
        <a:bodyPr/>
        <a:lstStyle/>
        <a:p>
          <a:endParaRPr lang="en-US" sz="1800"/>
        </a:p>
      </dgm:t>
    </dgm:pt>
    <dgm:pt modelId="{E8310773-4D2B-4EF1-A742-DDFB1CDCA82E}" type="pres">
      <dgm:prSet presAssocID="{AB0A8DF7-2577-459F-833C-84B18D0B90E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2301E79-33A8-4F76-9A9C-BA1E94E5508B}" type="pres">
      <dgm:prSet presAssocID="{2D8997E2-AE3B-4D65-B7E4-6A4D145CE21B}" presName="composite" presStyleCnt="0"/>
      <dgm:spPr/>
    </dgm:pt>
    <dgm:pt modelId="{B905E4A6-B521-4D2A-8A77-946E7BAB7AE7}" type="pres">
      <dgm:prSet presAssocID="{2D8997E2-AE3B-4D65-B7E4-6A4D145CE21B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C4AE73-85A9-4FCA-A319-ADF9FC1969CC}" type="pres">
      <dgm:prSet presAssocID="{2D8997E2-AE3B-4D65-B7E4-6A4D145CE21B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2C8206-A462-4C98-AAA0-6B2BD49598E7}" type="pres">
      <dgm:prSet presAssocID="{1AFD46C1-2BF8-4A2B-8713-6C1B8A19F99A}" presName="space" presStyleCnt="0"/>
      <dgm:spPr/>
    </dgm:pt>
    <dgm:pt modelId="{58A8CBFB-6BC3-4E38-B494-4A7E56CEA2F4}" type="pres">
      <dgm:prSet presAssocID="{D7E7C6AC-1613-4558-8F95-F67F2C7D2A90}" presName="composite" presStyleCnt="0"/>
      <dgm:spPr/>
    </dgm:pt>
    <dgm:pt modelId="{39A9344C-685F-462E-82D3-262F833DEB9B}" type="pres">
      <dgm:prSet presAssocID="{D7E7C6AC-1613-4558-8F95-F67F2C7D2A90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E0ECB9-0B55-420A-9028-AE856437E1D4}" type="pres">
      <dgm:prSet presAssocID="{D7E7C6AC-1613-4558-8F95-F67F2C7D2A90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B342AE-4998-4AEB-94BC-9FAFA80F156B}" type="pres">
      <dgm:prSet presAssocID="{375564EF-5056-4583-BE41-220AEA21747B}" presName="space" presStyleCnt="0"/>
      <dgm:spPr/>
    </dgm:pt>
    <dgm:pt modelId="{819A4A7B-F54B-4B30-8EBA-334C5308A727}" type="pres">
      <dgm:prSet presAssocID="{697DF4E4-AB4D-4E94-A92B-1321302DB7E6}" presName="composite" presStyleCnt="0"/>
      <dgm:spPr/>
    </dgm:pt>
    <dgm:pt modelId="{B33AE0A7-0AC4-4F0E-B71A-F5D77ECFF439}" type="pres">
      <dgm:prSet presAssocID="{697DF4E4-AB4D-4E94-A92B-1321302DB7E6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12E55B-6992-4987-AF77-CF407298B067}" type="pres">
      <dgm:prSet presAssocID="{697DF4E4-AB4D-4E94-A92B-1321302DB7E6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70F5A5B-424D-494A-B4D1-3459015B37B0}" type="presOf" srcId="{42BBB702-D4E7-46B8-A6CC-B76A7F76E72A}" destId="{D712E55B-6992-4987-AF77-CF407298B067}" srcOrd="0" destOrd="1" presId="urn:microsoft.com/office/officeart/2005/8/layout/hList1"/>
    <dgm:cxn modelId="{051A05A5-1AD5-4691-9179-FD082F1565A1}" srcId="{D7E7C6AC-1613-4558-8F95-F67F2C7D2A90}" destId="{39D433F0-2F06-415A-90EB-82DA63DC6112}" srcOrd="2" destOrd="0" parTransId="{C7C3EF8E-5BAE-4F7D-8232-FB06327BB7D4}" sibTransId="{7B4BA550-AB8E-495C-8804-9CF87FAE991A}"/>
    <dgm:cxn modelId="{9901C61F-5736-4106-8451-12886CE69927}" type="presOf" srcId="{39D433F0-2F06-415A-90EB-82DA63DC6112}" destId="{A3E0ECB9-0B55-420A-9028-AE856437E1D4}" srcOrd="0" destOrd="2" presId="urn:microsoft.com/office/officeart/2005/8/layout/hList1"/>
    <dgm:cxn modelId="{2FFC35D3-33E2-4EAF-AC27-A4B10581C1AD}" type="presOf" srcId="{D71D2CDE-5E35-4088-B95E-B3FB2D8ED62C}" destId="{9EC4AE73-85A9-4FCA-A319-ADF9FC1969CC}" srcOrd="0" destOrd="1" presId="urn:microsoft.com/office/officeart/2005/8/layout/hList1"/>
    <dgm:cxn modelId="{273CA670-E95E-4BF3-A209-B7F06A7CADB1}" srcId="{AB0A8DF7-2577-459F-833C-84B18D0B90E6}" destId="{D7E7C6AC-1613-4558-8F95-F67F2C7D2A90}" srcOrd="1" destOrd="0" parTransId="{C0DA2AE8-64CD-4A7B-9E68-6183F74E296F}" sibTransId="{375564EF-5056-4583-BE41-220AEA21747B}"/>
    <dgm:cxn modelId="{A22246EC-16F0-4A74-9A23-5BCA1ED5E115}" srcId="{D7E7C6AC-1613-4558-8F95-F67F2C7D2A90}" destId="{637645A2-4F2C-46A1-9ABA-54BE33EA1C4F}" srcOrd="1" destOrd="0" parTransId="{C6FBEA22-63B4-4F54-BD3E-7645BA60B572}" sibTransId="{96FB69ED-E04F-40A8-899E-40D42ADC8288}"/>
    <dgm:cxn modelId="{DC385EBF-B8B8-4757-956A-D986185FD54A}" type="presOf" srcId="{637645A2-4F2C-46A1-9ABA-54BE33EA1C4F}" destId="{A3E0ECB9-0B55-420A-9028-AE856437E1D4}" srcOrd="0" destOrd="1" presId="urn:microsoft.com/office/officeart/2005/8/layout/hList1"/>
    <dgm:cxn modelId="{E88FA9B1-6328-4AE2-A64C-B36426F66758}" srcId="{2D8997E2-AE3B-4D65-B7E4-6A4D145CE21B}" destId="{A8D53668-12C2-4BF1-B489-C5A4E08D57D3}" srcOrd="0" destOrd="0" parTransId="{B55C07E0-DE9B-4315-9667-1F3613B7E7C0}" sibTransId="{23335524-F10F-40AC-AF7C-CFF5D611D1FD}"/>
    <dgm:cxn modelId="{9AA71267-738B-4093-B77C-62E1630C2E5C}" type="presOf" srcId="{5A9BF823-48EC-4B95-99D3-BA28602D47DA}" destId="{A3E0ECB9-0B55-420A-9028-AE856437E1D4}" srcOrd="0" destOrd="0" presId="urn:microsoft.com/office/officeart/2005/8/layout/hList1"/>
    <dgm:cxn modelId="{A5650582-8777-410B-A1E0-688C499308B2}" type="presOf" srcId="{AB0A8DF7-2577-459F-833C-84B18D0B90E6}" destId="{E8310773-4D2B-4EF1-A742-DDFB1CDCA82E}" srcOrd="0" destOrd="0" presId="urn:microsoft.com/office/officeart/2005/8/layout/hList1"/>
    <dgm:cxn modelId="{66593F5E-7093-4341-A4D8-0D909E6760E5}" type="presOf" srcId="{3FF207F9-849B-45C5-AA1A-11193CB08797}" destId="{9EC4AE73-85A9-4FCA-A319-ADF9FC1969CC}" srcOrd="0" destOrd="2" presId="urn:microsoft.com/office/officeart/2005/8/layout/hList1"/>
    <dgm:cxn modelId="{21D77281-2552-4E49-8F3C-FBFD3EE6BB11}" srcId="{2D8997E2-AE3B-4D65-B7E4-6A4D145CE21B}" destId="{3FF207F9-849B-45C5-AA1A-11193CB08797}" srcOrd="2" destOrd="0" parTransId="{D3BEA58D-BE0A-4FE6-B71B-4215DECEF77C}" sibTransId="{B2831CCA-5B27-4143-BB27-5FBD0DDE2458}"/>
    <dgm:cxn modelId="{D7AE9AC3-F164-406C-8337-E94945526D59}" type="presOf" srcId="{D7E7C6AC-1613-4558-8F95-F67F2C7D2A90}" destId="{39A9344C-685F-462E-82D3-262F833DEB9B}" srcOrd="0" destOrd="0" presId="urn:microsoft.com/office/officeart/2005/8/layout/hList1"/>
    <dgm:cxn modelId="{38120645-27BC-4E73-A320-BDA9D1F034CB}" type="presOf" srcId="{B850013C-C558-49CA-8D16-50A7FB9351FA}" destId="{D712E55B-6992-4987-AF77-CF407298B067}" srcOrd="0" destOrd="0" presId="urn:microsoft.com/office/officeart/2005/8/layout/hList1"/>
    <dgm:cxn modelId="{FB989D40-63A5-4604-9664-193CE08C7F2C}" srcId="{D7E7C6AC-1613-4558-8F95-F67F2C7D2A90}" destId="{5A9BF823-48EC-4B95-99D3-BA28602D47DA}" srcOrd="0" destOrd="0" parTransId="{0CFA1346-278F-4D01-9571-B2F94824EE65}" sibTransId="{FEAE1D85-C6EE-4293-8508-27B33E99C3EA}"/>
    <dgm:cxn modelId="{E019585B-CE10-4356-875E-BB23F0C974C7}" srcId="{2D8997E2-AE3B-4D65-B7E4-6A4D145CE21B}" destId="{D71D2CDE-5E35-4088-B95E-B3FB2D8ED62C}" srcOrd="1" destOrd="0" parTransId="{695DE1DC-32D8-465F-AC97-2DFDCC222D48}" sibTransId="{D959C49E-101C-48E9-B751-F7CF2BDFF531}"/>
    <dgm:cxn modelId="{569656A4-011D-4FB8-9231-60F895555DE9}" srcId="{AB0A8DF7-2577-459F-833C-84B18D0B90E6}" destId="{697DF4E4-AB4D-4E94-A92B-1321302DB7E6}" srcOrd="2" destOrd="0" parTransId="{BFD0DAE0-B71E-471F-938E-0BA2F1662826}" sibTransId="{472AB716-9D21-4770-AC4B-5A07E5BB15BE}"/>
    <dgm:cxn modelId="{D726F115-2DA0-490B-BA68-3CAA1C4CCDD6}" type="presOf" srcId="{697DF4E4-AB4D-4E94-A92B-1321302DB7E6}" destId="{B33AE0A7-0AC4-4F0E-B71A-F5D77ECFF439}" srcOrd="0" destOrd="0" presId="urn:microsoft.com/office/officeart/2005/8/layout/hList1"/>
    <dgm:cxn modelId="{7507D550-FCD8-4EBA-B9A0-C167DE4C32CB}" srcId="{697DF4E4-AB4D-4E94-A92B-1321302DB7E6}" destId="{B850013C-C558-49CA-8D16-50A7FB9351FA}" srcOrd="0" destOrd="0" parTransId="{7821ED18-CD9F-421D-BEB4-112DA2DA356E}" sibTransId="{EB7C2CB5-5A33-4F39-9CF0-2995309BF0A9}"/>
    <dgm:cxn modelId="{E095A6E8-9A34-436D-B12B-EDDA5E63FFC5}" srcId="{AB0A8DF7-2577-459F-833C-84B18D0B90E6}" destId="{2D8997E2-AE3B-4D65-B7E4-6A4D145CE21B}" srcOrd="0" destOrd="0" parTransId="{E4D396DC-9572-46C6-B852-FBFCFDD7BEC1}" sibTransId="{1AFD46C1-2BF8-4A2B-8713-6C1B8A19F99A}"/>
    <dgm:cxn modelId="{D728211F-87EB-44F0-9DB0-605B47195FB9}" srcId="{697DF4E4-AB4D-4E94-A92B-1321302DB7E6}" destId="{42BBB702-D4E7-46B8-A6CC-B76A7F76E72A}" srcOrd="1" destOrd="0" parTransId="{B6676EA7-A143-4616-B363-1A3E68B5BB95}" sibTransId="{4F194584-297E-45B0-88B3-E7E4BEB0D9AB}"/>
    <dgm:cxn modelId="{1A573DED-858F-4CE9-9E6E-CC2E81E68C58}" type="presOf" srcId="{A8D53668-12C2-4BF1-B489-C5A4E08D57D3}" destId="{9EC4AE73-85A9-4FCA-A319-ADF9FC1969CC}" srcOrd="0" destOrd="0" presId="urn:microsoft.com/office/officeart/2005/8/layout/hList1"/>
    <dgm:cxn modelId="{F9C927BE-ECE1-4BEA-B5C6-350855BECDC4}" type="presOf" srcId="{2D8997E2-AE3B-4D65-B7E4-6A4D145CE21B}" destId="{B905E4A6-B521-4D2A-8A77-946E7BAB7AE7}" srcOrd="0" destOrd="0" presId="urn:microsoft.com/office/officeart/2005/8/layout/hList1"/>
    <dgm:cxn modelId="{B7F537E7-AE67-4BD0-AB42-09460AF02A70}" type="presParOf" srcId="{E8310773-4D2B-4EF1-A742-DDFB1CDCA82E}" destId="{82301E79-33A8-4F76-9A9C-BA1E94E5508B}" srcOrd="0" destOrd="0" presId="urn:microsoft.com/office/officeart/2005/8/layout/hList1"/>
    <dgm:cxn modelId="{AB94E646-6DF1-41DB-AB4A-CE6962096C1F}" type="presParOf" srcId="{82301E79-33A8-4F76-9A9C-BA1E94E5508B}" destId="{B905E4A6-B521-4D2A-8A77-946E7BAB7AE7}" srcOrd="0" destOrd="0" presId="urn:microsoft.com/office/officeart/2005/8/layout/hList1"/>
    <dgm:cxn modelId="{343070DC-FD9C-4F7E-BD9E-BBC885C526B9}" type="presParOf" srcId="{82301E79-33A8-4F76-9A9C-BA1E94E5508B}" destId="{9EC4AE73-85A9-4FCA-A319-ADF9FC1969CC}" srcOrd="1" destOrd="0" presId="urn:microsoft.com/office/officeart/2005/8/layout/hList1"/>
    <dgm:cxn modelId="{1BAADFC0-658E-4A01-B805-3D66D746DD3C}" type="presParOf" srcId="{E8310773-4D2B-4EF1-A742-DDFB1CDCA82E}" destId="{F72C8206-A462-4C98-AAA0-6B2BD49598E7}" srcOrd="1" destOrd="0" presId="urn:microsoft.com/office/officeart/2005/8/layout/hList1"/>
    <dgm:cxn modelId="{422CCE71-26A0-470E-8406-CE6A50D92CE3}" type="presParOf" srcId="{E8310773-4D2B-4EF1-A742-DDFB1CDCA82E}" destId="{58A8CBFB-6BC3-4E38-B494-4A7E56CEA2F4}" srcOrd="2" destOrd="0" presId="urn:microsoft.com/office/officeart/2005/8/layout/hList1"/>
    <dgm:cxn modelId="{544C39C5-C74B-41C5-ADF4-F40A528E58C8}" type="presParOf" srcId="{58A8CBFB-6BC3-4E38-B494-4A7E56CEA2F4}" destId="{39A9344C-685F-462E-82D3-262F833DEB9B}" srcOrd="0" destOrd="0" presId="urn:microsoft.com/office/officeart/2005/8/layout/hList1"/>
    <dgm:cxn modelId="{D0874CAE-B62A-4ECB-9F3B-2920C5E3D3F3}" type="presParOf" srcId="{58A8CBFB-6BC3-4E38-B494-4A7E56CEA2F4}" destId="{A3E0ECB9-0B55-420A-9028-AE856437E1D4}" srcOrd="1" destOrd="0" presId="urn:microsoft.com/office/officeart/2005/8/layout/hList1"/>
    <dgm:cxn modelId="{415C4ECE-6C3C-4708-B7D2-A65181120E4E}" type="presParOf" srcId="{E8310773-4D2B-4EF1-A742-DDFB1CDCA82E}" destId="{0FB342AE-4998-4AEB-94BC-9FAFA80F156B}" srcOrd="3" destOrd="0" presId="urn:microsoft.com/office/officeart/2005/8/layout/hList1"/>
    <dgm:cxn modelId="{6B42BABB-A9D3-4933-A229-452DFCE166A0}" type="presParOf" srcId="{E8310773-4D2B-4EF1-A742-DDFB1CDCA82E}" destId="{819A4A7B-F54B-4B30-8EBA-334C5308A727}" srcOrd="4" destOrd="0" presId="urn:microsoft.com/office/officeart/2005/8/layout/hList1"/>
    <dgm:cxn modelId="{23A4EB0E-6815-45EA-B5E6-37CA3EB6392A}" type="presParOf" srcId="{819A4A7B-F54B-4B30-8EBA-334C5308A727}" destId="{B33AE0A7-0AC4-4F0E-B71A-F5D77ECFF439}" srcOrd="0" destOrd="0" presId="urn:microsoft.com/office/officeart/2005/8/layout/hList1"/>
    <dgm:cxn modelId="{7F109E2F-9056-4319-B061-28541969A65F}" type="presParOf" srcId="{819A4A7B-F54B-4B30-8EBA-334C5308A727}" destId="{D712E55B-6992-4987-AF77-CF407298B067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D31EC11-2CB9-4528-B4FA-02E91F36DCBE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A365560-651A-4A9B-96A2-0EAFA0BD353B}">
      <dgm:prSet phldrT="[Text]"/>
      <dgm:spPr/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Large Enterprise</a:t>
          </a:r>
        </a:p>
      </dgm:t>
    </dgm:pt>
    <dgm:pt modelId="{DA48F00A-5B4E-4505-86BE-CEB8FC932B00}" type="parTrans" cxnId="{07AC1EB8-B3E7-4591-B78E-4E2BD63E78AA}">
      <dgm:prSet/>
      <dgm:spPr/>
      <dgm:t>
        <a:bodyPr/>
        <a:lstStyle/>
        <a:p>
          <a:endParaRPr lang="en-US"/>
        </a:p>
      </dgm:t>
    </dgm:pt>
    <dgm:pt modelId="{04381A78-25EB-4F2E-9E5E-259E0E31B231}" type="sibTrans" cxnId="{07AC1EB8-B3E7-4591-B78E-4E2BD63E78AA}">
      <dgm:prSet/>
      <dgm:spPr/>
      <dgm:t>
        <a:bodyPr/>
        <a:lstStyle/>
        <a:p>
          <a:endParaRPr lang="en-US"/>
        </a:p>
      </dgm:t>
    </dgm:pt>
    <dgm:pt modelId="{ECBEBCA5-838F-4AFB-8C45-1EB0E21F8374}">
      <dgm:prSet phldrT="[Text]"/>
      <dgm:spPr/>
      <dgm:t>
        <a:bodyPr/>
        <a:lstStyle/>
        <a:p>
          <a:r>
            <a:rPr lang="en-US" dirty="0" smtClean="0"/>
            <a:t>Large business</a:t>
          </a:r>
          <a:endParaRPr lang="en-US" dirty="0"/>
        </a:p>
      </dgm:t>
    </dgm:pt>
    <dgm:pt modelId="{3B4AC8E2-1260-40AE-B38A-A064C1A43BB9}" type="parTrans" cxnId="{18AECCB6-3458-4A07-A171-3C82D2B0F414}">
      <dgm:prSet/>
      <dgm:spPr/>
      <dgm:t>
        <a:bodyPr/>
        <a:lstStyle/>
        <a:p>
          <a:endParaRPr lang="en-US"/>
        </a:p>
      </dgm:t>
    </dgm:pt>
    <dgm:pt modelId="{FCB21955-C36F-47F8-B583-3DEF65C58534}" type="sibTrans" cxnId="{18AECCB6-3458-4A07-A171-3C82D2B0F414}">
      <dgm:prSet/>
      <dgm:spPr/>
      <dgm:t>
        <a:bodyPr/>
        <a:lstStyle/>
        <a:p>
          <a:endParaRPr lang="en-US"/>
        </a:p>
      </dgm:t>
    </dgm:pt>
    <dgm:pt modelId="{1C85D915-7203-4B37-956C-035465839BE1}">
      <dgm:prSet phldrT="[Text]"/>
      <dgm:spPr/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Public</a:t>
          </a:r>
        </a:p>
      </dgm:t>
    </dgm:pt>
    <dgm:pt modelId="{14C0E859-F083-44AE-A906-769B64CD6F50}" type="parTrans" cxnId="{93B80D53-D6B6-436E-AE84-F33F4031942C}">
      <dgm:prSet/>
      <dgm:spPr/>
      <dgm:t>
        <a:bodyPr/>
        <a:lstStyle/>
        <a:p>
          <a:endParaRPr lang="en-US"/>
        </a:p>
      </dgm:t>
    </dgm:pt>
    <dgm:pt modelId="{74201224-FEF6-4C0C-9FD6-17DE7A13BB18}" type="sibTrans" cxnId="{93B80D53-D6B6-436E-AE84-F33F4031942C}">
      <dgm:prSet/>
      <dgm:spPr/>
      <dgm:t>
        <a:bodyPr/>
        <a:lstStyle/>
        <a:p>
          <a:endParaRPr lang="en-US"/>
        </a:p>
      </dgm:t>
    </dgm:pt>
    <dgm:pt modelId="{66ED6732-2179-4379-A180-881386997DA0}">
      <dgm:prSet phldrT="[Text]"/>
      <dgm:spPr/>
      <dgm:t>
        <a:bodyPr/>
        <a:lstStyle/>
        <a:p>
          <a:r>
            <a:rPr lang="en-US" dirty="0" smtClean="0"/>
            <a:t>Healthcare</a:t>
          </a:r>
          <a:endParaRPr lang="en-US" dirty="0"/>
        </a:p>
      </dgm:t>
    </dgm:pt>
    <dgm:pt modelId="{4F26D085-D2AD-41DA-A99D-092BC70EAEB2}" type="parTrans" cxnId="{E24E0AEF-5D7B-4D79-A1F7-2B20E04981E5}">
      <dgm:prSet/>
      <dgm:spPr/>
      <dgm:t>
        <a:bodyPr/>
        <a:lstStyle/>
        <a:p>
          <a:endParaRPr lang="en-US"/>
        </a:p>
      </dgm:t>
    </dgm:pt>
    <dgm:pt modelId="{EB38B07C-45C1-4328-9089-DE6449C2A139}" type="sibTrans" cxnId="{E24E0AEF-5D7B-4D79-A1F7-2B20E04981E5}">
      <dgm:prSet/>
      <dgm:spPr/>
      <dgm:t>
        <a:bodyPr/>
        <a:lstStyle/>
        <a:p>
          <a:endParaRPr lang="en-US"/>
        </a:p>
      </dgm:t>
    </dgm:pt>
    <dgm:pt modelId="{50A31933-FEA7-4242-B626-9BC231A6E8F4}">
      <dgm:prSet phldrT="[Text]"/>
      <dgm:spPr/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Small &amp; Medium</a:t>
          </a:r>
        </a:p>
      </dgm:t>
    </dgm:pt>
    <dgm:pt modelId="{430B48B3-906F-4115-8916-52BD417A110D}" type="parTrans" cxnId="{FBB94CD8-739B-44D9-8622-0AF2110960D7}">
      <dgm:prSet/>
      <dgm:spPr/>
      <dgm:t>
        <a:bodyPr/>
        <a:lstStyle/>
        <a:p>
          <a:endParaRPr lang="en-US"/>
        </a:p>
      </dgm:t>
    </dgm:pt>
    <dgm:pt modelId="{B099B66A-B088-451C-9D2A-689871353D10}" type="sibTrans" cxnId="{FBB94CD8-739B-44D9-8622-0AF2110960D7}">
      <dgm:prSet/>
      <dgm:spPr/>
      <dgm:t>
        <a:bodyPr/>
        <a:lstStyle/>
        <a:p>
          <a:endParaRPr lang="en-US"/>
        </a:p>
      </dgm:t>
    </dgm:pt>
    <dgm:pt modelId="{B39E7757-5619-428B-8986-63B51A7B2A93}">
      <dgm:prSet phldrT="[Text]"/>
      <dgm:spPr/>
      <dgm:t>
        <a:bodyPr/>
        <a:lstStyle/>
        <a:p>
          <a:r>
            <a:rPr lang="en-US" dirty="0" smtClean="0"/>
            <a:t>Medium business</a:t>
          </a:r>
          <a:endParaRPr lang="en-US" dirty="0"/>
        </a:p>
      </dgm:t>
    </dgm:pt>
    <dgm:pt modelId="{E780C096-6A43-478F-B5CE-12E6ED5FF872}" type="parTrans" cxnId="{2DA90A47-B717-4CDC-B616-561FFC95C2AD}">
      <dgm:prSet/>
      <dgm:spPr/>
      <dgm:t>
        <a:bodyPr/>
        <a:lstStyle/>
        <a:p>
          <a:endParaRPr lang="en-US"/>
        </a:p>
      </dgm:t>
    </dgm:pt>
    <dgm:pt modelId="{8709C4B4-7EA0-4445-964C-20E8CA4AB161}" type="sibTrans" cxnId="{2DA90A47-B717-4CDC-B616-561FFC95C2AD}">
      <dgm:prSet/>
      <dgm:spPr/>
      <dgm:t>
        <a:bodyPr/>
        <a:lstStyle/>
        <a:p>
          <a:endParaRPr lang="en-US"/>
        </a:p>
      </dgm:t>
    </dgm:pt>
    <dgm:pt modelId="{04B65798-5A40-4D69-B37D-E5B8643801D4}">
      <dgm:prSet/>
      <dgm:spPr/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Consumer</a:t>
          </a:r>
          <a:endParaRPr lang="en-US" b="1" dirty="0">
            <a:solidFill>
              <a:schemeClr val="tx2"/>
            </a:solidFill>
          </a:endParaRPr>
        </a:p>
      </dgm:t>
    </dgm:pt>
    <dgm:pt modelId="{9EA0623A-6D5E-416D-BBD1-E714ECAE3FF2}" type="parTrans" cxnId="{64CFB410-D02C-474A-9D5B-0BD95E82C179}">
      <dgm:prSet/>
      <dgm:spPr/>
      <dgm:t>
        <a:bodyPr/>
        <a:lstStyle/>
        <a:p>
          <a:endParaRPr lang="en-US"/>
        </a:p>
      </dgm:t>
    </dgm:pt>
    <dgm:pt modelId="{5E115316-0B8F-4807-84F0-B06E520850BB}" type="sibTrans" cxnId="{64CFB410-D02C-474A-9D5B-0BD95E82C179}">
      <dgm:prSet/>
      <dgm:spPr/>
      <dgm:t>
        <a:bodyPr/>
        <a:lstStyle/>
        <a:p>
          <a:endParaRPr lang="en-US"/>
        </a:p>
      </dgm:t>
    </dgm:pt>
    <dgm:pt modelId="{110DB3E6-4C8B-4EB7-B565-64F5A76E64C3}">
      <dgm:prSet/>
      <dgm:spPr/>
      <dgm:t>
        <a:bodyPr/>
        <a:lstStyle/>
        <a:p>
          <a:r>
            <a:rPr lang="en-US" dirty="0" smtClean="0"/>
            <a:t>Consumers</a:t>
          </a:r>
          <a:endParaRPr lang="en-US" dirty="0"/>
        </a:p>
      </dgm:t>
    </dgm:pt>
    <dgm:pt modelId="{0F16050B-BDB9-4FF9-9C86-148B16223D0E}" type="parTrans" cxnId="{B4B2AAE9-4D29-4E3D-97BB-72C11D476218}">
      <dgm:prSet/>
      <dgm:spPr/>
      <dgm:t>
        <a:bodyPr/>
        <a:lstStyle/>
        <a:p>
          <a:endParaRPr lang="en-US"/>
        </a:p>
      </dgm:t>
    </dgm:pt>
    <dgm:pt modelId="{F2D88B3C-8B92-4B9B-9458-5A25CC3A8E50}" type="sibTrans" cxnId="{B4B2AAE9-4D29-4E3D-97BB-72C11D476218}">
      <dgm:prSet/>
      <dgm:spPr/>
      <dgm:t>
        <a:bodyPr/>
        <a:lstStyle/>
        <a:p>
          <a:endParaRPr lang="en-US"/>
        </a:p>
      </dgm:t>
    </dgm:pt>
    <dgm:pt modelId="{93A5D9AC-25AA-41CD-9763-071C26266C3A}">
      <dgm:prSet/>
      <dgm:spPr/>
      <dgm:t>
        <a:bodyPr/>
        <a:lstStyle/>
        <a:p>
          <a:r>
            <a:rPr lang="en-US" dirty="0" smtClean="0"/>
            <a:t>WW presence</a:t>
          </a:r>
          <a:endParaRPr lang="en-US" dirty="0"/>
        </a:p>
      </dgm:t>
    </dgm:pt>
    <dgm:pt modelId="{827F47D2-EC62-4745-9551-C6737BA146EC}" type="parTrans" cxnId="{6358EB57-401B-4478-B141-157FCE6942EC}">
      <dgm:prSet/>
      <dgm:spPr/>
      <dgm:t>
        <a:bodyPr/>
        <a:lstStyle/>
        <a:p>
          <a:endParaRPr lang="en-US"/>
        </a:p>
      </dgm:t>
    </dgm:pt>
    <dgm:pt modelId="{CEA0F757-8526-4872-B1CA-04E2822F60F9}" type="sibTrans" cxnId="{6358EB57-401B-4478-B141-157FCE6942EC}">
      <dgm:prSet/>
      <dgm:spPr/>
      <dgm:t>
        <a:bodyPr/>
        <a:lstStyle/>
        <a:p>
          <a:endParaRPr lang="en-US"/>
        </a:p>
      </dgm:t>
    </dgm:pt>
    <dgm:pt modelId="{DCE93C41-0CCF-4D01-8F23-9B620B92E22A}">
      <dgm:prSet/>
      <dgm:spPr/>
      <dgm:t>
        <a:bodyPr/>
        <a:lstStyle/>
        <a:p>
          <a:r>
            <a:rPr lang="en-US" dirty="0" smtClean="0"/>
            <a:t>Small non-segmented countries</a:t>
          </a:r>
          <a:endParaRPr lang="en-US" dirty="0"/>
        </a:p>
      </dgm:t>
    </dgm:pt>
    <dgm:pt modelId="{19ED4449-5AA1-4C32-BD3C-7DFF94BE55D3}" type="parTrans" cxnId="{03216EFC-2595-4F16-9551-68EF49BB6D94}">
      <dgm:prSet/>
      <dgm:spPr/>
      <dgm:t>
        <a:bodyPr/>
        <a:lstStyle/>
        <a:p>
          <a:endParaRPr lang="en-US"/>
        </a:p>
      </dgm:t>
    </dgm:pt>
    <dgm:pt modelId="{62DED714-20C3-43B9-8ACE-5BE2D9BCA4A1}" type="sibTrans" cxnId="{03216EFC-2595-4F16-9551-68EF49BB6D94}">
      <dgm:prSet/>
      <dgm:spPr/>
      <dgm:t>
        <a:bodyPr/>
        <a:lstStyle/>
        <a:p>
          <a:endParaRPr lang="en-US"/>
        </a:p>
      </dgm:t>
    </dgm:pt>
    <dgm:pt modelId="{E29EA7DB-7FB6-492B-B1BC-F6CFBFBB979B}">
      <dgm:prSet/>
      <dgm:spPr/>
      <dgm:t>
        <a:bodyPr/>
        <a:lstStyle/>
        <a:p>
          <a:r>
            <a:rPr lang="en-US" dirty="0" smtClean="0"/>
            <a:t>Government</a:t>
          </a:r>
          <a:endParaRPr lang="en-US" dirty="0"/>
        </a:p>
      </dgm:t>
    </dgm:pt>
    <dgm:pt modelId="{EAF36577-3FE4-4289-A342-6B6C20B924FA}" type="parTrans" cxnId="{0EFB7BA8-6C43-45E4-BD09-EACA8074E9FD}">
      <dgm:prSet/>
      <dgm:spPr/>
      <dgm:t>
        <a:bodyPr/>
        <a:lstStyle/>
        <a:p>
          <a:endParaRPr lang="en-US"/>
        </a:p>
      </dgm:t>
    </dgm:pt>
    <dgm:pt modelId="{0DF06D54-C87F-4384-8378-91258D0EE793}" type="sibTrans" cxnId="{0EFB7BA8-6C43-45E4-BD09-EACA8074E9FD}">
      <dgm:prSet/>
      <dgm:spPr/>
      <dgm:t>
        <a:bodyPr/>
        <a:lstStyle/>
        <a:p>
          <a:endParaRPr lang="en-US"/>
        </a:p>
      </dgm:t>
    </dgm:pt>
    <dgm:pt modelId="{1F7FD493-E0EC-4935-B286-861EA76388FC}">
      <dgm:prSet/>
      <dgm:spPr/>
      <dgm:t>
        <a:bodyPr/>
        <a:lstStyle/>
        <a:p>
          <a:r>
            <a:rPr lang="en-US" dirty="0" smtClean="0"/>
            <a:t>Schools</a:t>
          </a:r>
          <a:endParaRPr lang="en-US" dirty="0"/>
        </a:p>
      </dgm:t>
    </dgm:pt>
    <dgm:pt modelId="{7E0B8924-3FFF-4B5E-B087-7AD38CBE7DBE}" type="parTrans" cxnId="{DCA85486-B384-4743-A822-41F21453D186}">
      <dgm:prSet/>
      <dgm:spPr/>
      <dgm:t>
        <a:bodyPr/>
        <a:lstStyle/>
        <a:p>
          <a:endParaRPr lang="en-US"/>
        </a:p>
      </dgm:t>
    </dgm:pt>
    <dgm:pt modelId="{599A0F9A-75CA-4DB8-BD3B-DF95ABFED153}" type="sibTrans" cxnId="{DCA85486-B384-4743-A822-41F21453D186}">
      <dgm:prSet/>
      <dgm:spPr/>
      <dgm:t>
        <a:bodyPr/>
        <a:lstStyle/>
        <a:p>
          <a:endParaRPr lang="en-US"/>
        </a:p>
      </dgm:t>
    </dgm:pt>
    <dgm:pt modelId="{A4D1261C-EE07-4FF4-9F6D-713B284774B3}">
      <dgm:prSet/>
      <dgm:spPr/>
      <dgm:t>
        <a:bodyPr/>
        <a:lstStyle/>
        <a:p>
          <a:r>
            <a:rPr lang="en-US" dirty="0" smtClean="0"/>
            <a:t>Small business</a:t>
          </a:r>
          <a:endParaRPr lang="en-US" dirty="0"/>
        </a:p>
      </dgm:t>
    </dgm:pt>
    <dgm:pt modelId="{7151AC14-3429-4844-8A1E-06604F992728}" type="parTrans" cxnId="{D2429162-E3C5-41AB-BB84-60C1E4FBA89B}">
      <dgm:prSet/>
      <dgm:spPr/>
      <dgm:t>
        <a:bodyPr/>
        <a:lstStyle/>
        <a:p>
          <a:endParaRPr lang="en-US"/>
        </a:p>
      </dgm:t>
    </dgm:pt>
    <dgm:pt modelId="{19021D0B-543C-4264-BF11-858F47EE97AF}" type="sibTrans" cxnId="{D2429162-E3C5-41AB-BB84-60C1E4FBA89B}">
      <dgm:prSet/>
      <dgm:spPr/>
      <dgm:t>
        <a:bodyPr/>
        <a:lstStyle/>
        <a:p>
          <a:endParaRPr lang="en-US"/>
        </a:p>
      </dgm:t>
    </dgm:pt>
    <dgm:pt modelId="{5B5D8C48-EB0F-482A-B3B0-3F7D9DF1813A}" type="pres">
      <dgm:prSet presAssocID="{ED31EC11-2CB9-4528-B4FA-02E91F36DCB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091F15D-8B0D-45A1-8C1A-8367AF27D06B}" type="pres">
      <dgm:prSet presAssocID="{1A365560-651A-4A9B-96A2-0EAFA0BD353B}" presName="composite" presStyleCnt="0"/>
      <dgm:spPr/>
    </dgm:pt>
    <dgm:pt modelId="{339283AA-20FF-4BB6-842F-7B4A46814843}" type="pres">
      <dgm:prSet presAssocID="{1A365560-651A-4A9B-96A2-0EAFA0BD353B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C28005-8AB9-424C-9547-D5CD8AE8688D}" type="pres">
      <dgm:prSet presAssocID="{1A365560-651A-4A9B-96A2-0EAFA0BD353B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4F1BCF-C010-4EFD-8F7C-1FC8137E2C42}" type="pres">
      <dgm:prSet presAssocID="{04381A78-25EB-4F2E-9E5E-259E0E31B231}" presName="space" presStyleCnt="0"/>
      <dgm:spPr/>
    </dgm:pt>
    <dgm:pt modelId="{9B539478-7742-49DE-8874-18270172B8DC}" type="pres">
      <dgm:prSet presAssocID="{1C85D915-7203-4B37-956C-035465839BE1}" presName="composite" presStyleCnt="0"/>
      <dgm:spPr/>
    </dgm:pt>
    <dgm:pt modelId="{851B1D29-A470-4E95-B9E2-D2846F7C7A47}" type="pres">
      <dgm:prSet presAssocID="{1C85D915-7203-4B37-956C-035465839BE1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EE4BF-423A-4F73-9138-34664B59736B}" type="pres">
      <dgm:prSet presAssocID="{1C85D915-7203-4B37-956C-035465839BE1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BFD368-645E-4FAC-B939-8124E918AC00}" type="pres">
      <dgm:prSet presAssocID="{74201224-FEF6-4C0C-9FD6-17DE7A13BB18}" presName="space" presStyleCnt="0"/>
      <dgm:spPr/>
    </dgm:pt>
    <dgm:pt modelId="{A75E64E4-95B5-4379-8943-A65331992570}" type="pres">
      <dgm:prSet presAssocID="{50A31933-FEA7-4242-B626-9BC231A6E8F4}" presName="composite" presStyleCnt="0"/>
      <dgm:spPr/>
    </dgm:pt>
    <dgm:pt modelId="{DC8B808B-617D-4B86-84EC-21B55630A0D9}" type="pres">
      <dgm:prSet presAssocID="{50A31933-FEA7-4242-B626-9BC231A6E8F4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A8B8E1-0B3E-4CFA-BA5D-2D19F5E98F6D}" type="pres">
      <dgm:prSet presAssocID="{50A31933-FEA7-4242-B626-9BC231A6E8F4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A7E90C-98D8-494B-9C00-2398AFBD54F1}" type="pres">
      <dgm:prSet presAssocID="{B099B66A-B088-451C-9D2A-689871353D10}" presName="space" presStyleCnt="0"/>
      <dgm:spPr/>
    </dgm:pt>
    <dgm:pt modelId="{E217D6F7-2914-4861-A98A-408F0D110B22}" type="pres">
      <dgm:prSet presAssocID="{04B65798-5A40-4D69-B37D-E5B8643801D4}" presName="composite" presStyleCnt="0"/>
      <dgm:spPr/>
    </dgm:pt>
    <dgm:pt modelId="{CF02618E-220F-4213-9778-BFED1D7823D9}" type="pres">
      <dgm:prSet presAssocID="{04B65798-5A40-4D69-B37D-E5B8643801D4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C16362-7B84-424F-A27C-FEEF27A92324}" type="pres">
      <dgm:prSet presAssocID="{04B65798-5A40-4D69-B37D-E5B8643801D4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A2C1F0-B6F4-47EA-8F5A-A85D9B7F9A1D}" type="presOf" srcId="{1A365560-651A-4A9B-96A2-0EAFA0BD353B}" destId="{339283AA-20FF-4BB6-842F-7B4A46814843}" srcOrd="0" destOrd="0" presId="urn:microsoft.com/office/officeart/2005/8/layout/hList1"/>
    <dgm:cxn modelId="{FBB94CD8-739B-44D9-8622-0AF2110960D7}" srcId="{ED31EC11-2CB9-4528-B4FA-02E91F36DCBE}" destId="{50A31933-FEA7-4242-B626-9BC231A6E8F4}" srcOrd="2" destOrd="0" parTransId="{430B48B3-906F-4115-8916-52BD417A110D}" sibTransId="{B099B66A-B088-451C-9D2A-689871353D10}"/>
    <dgm:cxn modelId="{8852B1FE-6F7E-4E28-82DE-B39D251F35D0}" type="presOf" srcId="{1F7FD493-E0EC-4935-B286-861EA76388FC}" destId="{5D9EE4BF-423A-4F73-9138-34664B59736B}" srcOrd="0" destOrd="2" presId="urn:microsoft.com/office/officeart/2005/8/layout/hList1"/>
    <dgm:cxn modelId="{B1DB24B7-2D45-4FD0-B18E-3A18A4E407A4}" type="presOf" srcId="{04B65798-5A40-4D69-B37D-E5B8643801D4}" destId="{CF02618E-220F-4213-9778-BFED1D7823D9}" srcOrd="0" destOrd="0" presId="urn:microsoft.com/office/officeart/2005/8/layout/hList1"/>
    <dgm:cxn modelId="{CA976BC4-C496-4DDD-B944-7CC951825351}" type="presOf" srcId="{110DB3E6-4C8B-4EB7-B565-64F5A76E64C3}" destId="{84C16362-7B84-424F-A27C-FEEF27A92324}" srcOrd="0" destOrd="0" presId="urn:microsoft.com/office/officeart/2005/8/layout/hList1"/>
    <dgm:cxn modelId="{93B80D53-D6B6-436E-AE84-F33F4031942C}" srcId="{ED31EC11-2CB9-4528-B4FA-02E91F36DCBE}" destId="{1C85D915-7203-4B37-956C-035465839BE1}" srcOrd="1" destOrd="0" parTransId="{14C0E859-F083-44AE-A906-769B64CD6F50}" sibTransId="{74201224-FEF6-4C0C-9FD6-17DE7A13BB18}"/>
    <dgm:cxn modelId="{EC425BDE-1A74-4661-8617-78FA2FA03065}" type="presOf" srcId="{E29EA7DB-7FB6-492B-B1BC-F6CFBFBB979B}" destId="{5D9EE4BF-423A-4F73-9138-34664B59736B}" srcOrd="0" destOrd="1" presId="urn:microsoft.com/office/officeart/2005/8/layout/hList1"/>
    <dgm:cxn modelId="{A254E406-6D3F-4D7F-97EF-C912D303695E}" type="presOf" srcId="{ECBEBCA5-838F-4AFB-8C45-1EB0E21F8374}" destId="{46C28005-8AB9-424C-9547-D5CD8AE8688D}" srcOrd="0" destOrd="0" presId="urn:microsoft.com/office/officeart/2005/8/layout/hList1"/>
    <dgm:cxn modelId="{EE520860-FC6F-450B-AFB0-06E98BCAEB5D}" type="presOf" srcId="{93A5D9AC-25AA-41CD-9763-071C26266C3A}" destId="{46C28005-8AB9-424C-9547-D5CD8AE8688D}" srcOrd="0" destOrd="1" presId="urn:microsoft.com/office/officeart/2005/8/layout/hList1"/>
    <dgm:cxn modelId="{03216EFC-2595-4F16-9551-68EF49BB6D94}" srcId="{1A365560-651A-4A9B-96A2-0EAFA0BD353B}" destId="{DCE93C41-0CCF-4D01-8F23-9B620B92E22A}" srcOrd="2" destOrd="0" parTransId="{19ED4449-5AA1-4C32-BD3C-7DFF94BE55D3}" sibTransId="{62DED714-20C3-43B9-8ACE-5BE2D9BCA4A1}"/>
    <dgm:cxn modelId="{E24E0AEF-5D7B-4D79-A1F7-2B20E04981E5}" srcId="{1C85D915-7203-4B37-956C-035465839BE1}" destId="{66ED6732-2179-4379-A180-881386997DA0}" srcOrd="0" destOrd="0" parTransId="{4F26D085-D2AD-41DA-A99D-092BC70EAEB2}" sibTransId="{EB38B07C-45C1-4328-9089-DE6449C2A139}"/>
    <dgm:cxn modelId="{115816BC-37B0-46F4-8114-11ECE9939C80}" type="presOf" srcId="{50A31933-FEA7-4242-B626-9BC231A6E8F4}" destId="{DC8B808B-617D-4B86-84EC-21B55630A0D9}" srcOrd="0" destOrd="0" presId="urn:microsoft.com/office/officeart/2005/8/layout/hList1"/>
    <dgm:cxn modelId="{18AECCB6-3458-4A07-A171-3C82D2B0F414}" srcId="{1A365560-651A-4A9B-96A2-0EAFA0BD353B}" destId="{ECBEBCA5-838F-4AFB-8C45-1EB0E21F8374}" srcOrd="0" destOrd="0" parTransId="{3B4AC8E2-1260-40AE-B38A-A064C1A43BB9}" sibTransId="{FCB21955-C36F-47F8-B583-3DEF65C58534}"/>
    <dgm:cxn modelId="{2DA90A47-B717-4CDC-B616-561FFC95C2AD}" srcId="{50A31933-FEA7-4242-B626-9BC231A6E8F4}" destId="{B39E7757-5619-428B-8986-63B51A7B2A93}" srcOrd="0" destOrd="0" parTransId="{E780C096-6A43-478F-B5CE-12E6ED5FF872}" sibTransId="{8709C4B4-7EA0-4445-964C-20E8CA4AB161}"/>
    <dgm:cxn modelId="{07AC1EB8-B3E7-4591-B78E-4E2BD63E78AA}" srcId="{ED31EC11-2CB9-4528-B4FA-02E91F36DCBE}" destId="{1A365560-651A-4A9B-96A2-0EAFA0BD353B}" srcOrd="0" destOrd="0" parTransId="{DA48F00A-5B4E-4505-86BE-CEB8FC932B00}" sibTransId="{04381A78-25EB-4F2E-9E5E-259E0E31B231}"/>
    <dgm:cxn modelId="{B4B2AAE9-4D29-4E3D-97BB-72C11D476218}" srcId="{04B65798-5A40-4D69-B37D-E5B8643801D4}" destId="{110DB3E6-4C8B-4EB7-B565-64F5A76E64C3}" srcOrd="0" destOrd="0" parTransId="{0F16050B-BDB9-4FF9-9C86-148B16223D0E}" sibTransId="{F2D88B3C-8B92-4B9B-9458-5A25CC3A8E50}"/>
    <dgm:cxn modelId="{D2429162-E3C5-41AB-BB84-60C1E4FBA89B}" srcId="{50A31933-FEA7-4242-B626-9BC231A6E8F4}" destId="{A4D1261C-EE07-4FF4-9F6D-713B284774B3}" srcOrd="1" destOrd="0" parTransId="{7151AC14-3429-4844-8A1E-06604F992728}" sibTransId="{19021D0B-543C-4264-BF11-858F47EE97AF}"/>
    <dgm:cxn modelId="{C9A2C734-7F19-4411-914D-12E60A06CE6F}" type="presOf" srcId="{A4D1261C-EE07-4FF4-9F6D-713B284774B3}" destId="{E6A8B8E1-0B3E-4CFA-BA5D-2D19F5E98F6D}" srcOrd="0" destOrd="1" presId="urn:microsoft.com/office/officeart/2005/8/layout/hList1"/>
    <dgm:cxn modelId="{64CFB410-D02C-474A-9D5B-0BD95E82C179}" srcId="{ED31EC11-2CB9-4528-B4FA-02E91F36DCBE}" destId="{04B65798-5A40-4D69-B37D-E5B8643801D4}" srcOrd="3" destOrd="0" parTransId="{9EA0623A-6D5E-416D-BBD1-E714ECAE3FF2}" sibTransId="{5E115316-0B8F-4807-84F0-B06E520850BB}"/>
    <dgm:cxn modelId="{1A149340-4470-4E4D-AC37-F4097FA59C95}" type="presOf" srcId="{ED31EC11-2CB9-4528-B4FA-02E91F36DCBE}" destId="{5B5D8C48-EB0F-482A-B3B0-3F7D9DF1813A}" srcOrd="0" destOrd="0" presId="urn:microsoft.com/office/officeart/2005/8/layout/hList1"/>
    <dgm:cxn modelId="{D49F50DB-B0AA-447D-862C-44E7B70848E9}" type="presOf" srcId="{DCE93C41-0CCF-4D01-8F23-9B620B92E22A}" destId="{46C28005-8AB9-424C-9547-D5CD8AE8688D}" srcOrd="0" destOrd="2" presId="urn:microsoft.com/office/officeart/2005/8/layout/hList1"/>
    <dgm:cxn modelId="{D9351B42-AB91-44B5-8C0A-CE7D3B6E5441}" type="presOf" srcId="{66ED6732-2179-4379-A180-881386997DA0}" destId="{5D9EE4BF-423A-4F73-9138-34664B59736B}" srcOrd="0" destOrd="0" presId="urn:microsoft.com/office/officeart/2005/8/layout/hList1"/>
    <dgm:cxn modelId="{6358EB57-401B-4478-B141-157FCE6942EC}" srcId="{1A365560-651A-4A9B-96A2-0EAFA0BD353B}" destId="{93A5D9AC-25AA-41CD-9763-071C26266C3A}" srcOrd="1" destOrd="0" parTransId="{827F47D2-EC62-4745-9551-C6737BA146EC}" sibTransId="{CEA0F757-8526-4872-B1CA-04E2822F60F9}"/>
    <dgm:cxn modelId="{915793C6-BA47-4E24-8EE5-AE8A10DCE202}" type="presOf" srcId="{1C85D915-7203-4B37-956C-035465839BE1}" destId="{851B1D29-A470-4E95-B9E2-D2846F7C7A47}" srcOrd="0" destOrd="0" presId="urn:microsoft.com/office/officeart/2005/8/layout/hList1"/>
    <dgm:cxn modelId="{DCA85486-B384-4743-A822-41F21453D186}" srcId="{1C85D915-7203-4B37-956C-035465839BE1}" destId="{1F7FD493-E0EC-4935-B286-861EA76388FC}" srcOrd="2" destOrd="0" parTransId="{7E0B8924-3FFF-4B5E-B087-7AD38CBE7DBE}" sibTransId="{599A0F9A-75CA-4DB8-BD3B-DF95ABFED153}"/>
    <dgm:cxn modelId="{484D9B90-3374-4F06-A729-E8DC40E52D11}" type="presOf" srcId="{B39E7757-5619-428B-8986-63B51A7B2A93}" destId="{E6A8B8E1-0B3E-4CFA-BA5D-2D19F5E98F6D}" srcOrd="0" destOrd="0" presId="urn:microsoft.com/office/officeart/2005/8/layout/hList1"/>
    <dgm:cxn modelId="{0EFB7BA8-6C43-45E4-BD09-EACA8074E9FD}" srcId="{1C85D915-7203-4B37-956C-035465839BE1}" destId="{E29EA7DB-7FB6-492B-B1BC-F6CFBFBB979B}" srcOrd="1" destOrd="0" parTransId="{EAF36577-3FE4-4289-A342-6B6C20B924FA}" sibTransId="{0DF06D54-C87F-4384-8378-91258D0EE793}"/>
    <dgm:cxn modelId="{46DB62DF-ECD2-4C3E-906D-A37D91BC1975}" type="presParOf" srcId="{5B5D8C48-EB0F-482A-B3B0-3F7D9DF1813A}" destId="{2091F15D-8B0D-45A1-8C1A-8367AF27D06B}" srcOrd="0" destOrd="0" presId="urn:microsoft.com/office/officeart/2005/8/layout/hList1"/>
    <dgm:cxn modelId="{F2B568E9-1A06-4963-BB86-868C7CFC4C65}" type="presParOf" srcId="{2091F15D-8B0D-45A1-8C1A-8367AF27D06B}" destId="{339283AA-20FF-4BB6-842F-7B4A46814843}" srcOrd="0" destOrd="0" presId="urn:microsoft.com/office/officeart/2005/8/layout/hList1"/>
    <dgm:cxn modelId="{1E785CDF-0D05-4CE5-989C-4C4EBBD1EA0A}" type="presParOf" srcId="{2091F15D-8B0D-45A1-8C1A-8367AF27D06B}" destId="{46C28005-8AB9-424C-9547-D5CD8AE8688D}" srcOrd="1" destOrd="0" presId="urn:microsoft.com/office/officeart/2005/8/layout/hList1"/>
    <dgm:cxn modelId="{C6EF1AD3-B5B6-4745-8926-FA16DAB5C8A3}" type="presParOf" srcId="{5B5D8C48-EB0F-482A-B3B0-3F7D9DF1813A}" destId="{3E4F1BCF-C010-4EFD-8F7C-1FC8137E2C42}" srcOrd="1" destOrd="0" presId="urn:microsoft.com/office/officeart/2005/8/layout/hList1"/>
    <dgm:cxn modelId="{0E5F737C-647D-45D4-902F-026C5A6F8916}" type="presParOf" srcId="{5B5D8C48-EB0F-482A-B3B0-3F7D9DF1813A}" destId="{9B539478-7742-49DE-8874-18270172B8DC}" srcOrd="2" destOrd="0" presId="urn:microsoft.com/office/officeart/2005/8/layout/hList1"/>
    <dgm:cxn modelId="{B4EB34C1-02BB-44A1-A786-47FE2D89C5E4}" type="presParOf" srcId="{9B539478-7742-49DE-8874-18270172B8DC}" destId="{851B1D29-A470-4E95-B9E2-D2846F7C7A47}" srcOrd="0" destOrd="0" presId="urn:microsoft.com/office/officeart/2005/8/layout/hList1"/>
    <dgm:cxn modelId="{30C40A04-A06E-4FCD-B432-36311ABB726B}" type="presParOf" srcId="{9B539478-7742-49DE-8874-18270172B8DC}" destId="{5D9EE4BF-423A-4F73-9138-34664B59736B}" srcOrd="1" destOrd="0" presId="urn:microsoft.com/office/officeart/2005/8/layout/hList1"/>
    <dgm:cxn modelId="{132833CD-A1ED-49D2-A555-07B9694E476C}" type="presParOf" srcId="{5B5D8C48-EB0F-482A-B3B0-3F7D9DF1813A}" destId="{8CBFD368-645E-4FAC-B939-8124E918AC00}" srcOrd="3" destOrd="0" presId="urn:microsoft.com/office/officeart/2005/8/layout/hList1"/>
    <dgm:cxn modelId="{C589A990-73F3-4F08-954E-A67520B9E0C3}" type="presParOf" srcId="{5B5D8C48-EB0F-482A-B3B0-3F7D9DF1813A}" destId="{A75E64E4-95B5-4379-8943-A65331992570}" srcOrd="4" destOrd="0" presId="urn:microsoft.com/office/officeart/2005/8/layout/hList1"/>
    <dgm:cxn modelId="{A41C57AE-A019-4B75-BD58-F6FF3BBDF675}" type="presParOf" srcId="{A75E64E4-95B5-4379-8943-A65331992570}" destId="{DC8B808B-617D-4B86-84EC-21B55630A0D9}" srcOrd="0" destOrd="0" presId="urn:microsoft.com/office/officeart/2005/8/layout/hList1"/>
    <dgm:cxn modelId="{E31FFB79-39B8-4D1A-A5A0-302E04DF4C37}" type="presParOf" srcId="{A75E64E4-95B5-4379-8943-A65331992570}" destId="{E6A8B8E1-0B3E-4CFA-BA5D-2D19F5E98F6D}" srcOrd="1" destOrd="0" presId="urn:microsoft.com/office/officeart/2005/8/layout/hList1"/>
    <dgm:cxn modelId="{C8DF60D3-E7B2-44CA-B3BD-B30BBC27F7D2}" type="presParOf" srcId="{5B5D8C48-EB0F-482A-B3B0-3F7D9DF1813A}" destId="{CDA7E90C-98D8-494B-9C00-2398AFBD54F1}" srcOrd="5" destOrd="0" presId="urn:microsoft.com/office/officeart/2005/8/layout/hList1"/>
    <dgm:cxn modelId="{FBD4576B-6969-4A4D-B8F6-18B606F9E4AE}" type="presParOf" srcId="{5B5D8C48-EB0F-482A-B3B0-3F7D9DF1813A}" destId="{E217D6F7-2914-4861-A98A-408F0D110B22}" srcOrd="6" destOrd="0" presId="urn:microsoft.com/office/officeart/2005/8/layout/hList1"/>
    <dgm:cxn modelId="{E366E9DC-1EDF-4CD3-A814-E9D49EDDC470}" type="presParOf" srcId="{E217D6F7-2914-4861-A98A-408F0D110B22}" destId="{CF02618E-220F-4213-9778-BFED1D7823D9}" srcOrd="0" destOrd="0" presId="urn:microsoft.com/office/officeart/2005/8/layout/hList1"/>
    <dgm:cxn modelId="{D204ACA3-8864-41D5-BC98-1D4F4171F94A}" type="presParOf" srcId="{E217D6F7-2914-4861-A98A-408F0D110B22}" destId="{84C16362-7B84-424F-A27C-FEEF27A9232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5EF29F6-0062-4DC2-A324-7109113A20CA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AF0B82-2D39-4234-B160-2EAB93785563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Before</a:t>
          </a:r>
          <a:endParaRPr lang="en-US" sz="2800" dirty="0">
            <a:solidFill>
              <a:schemeClr val="tx2"/>
            </a:solidFill>
          </a:endParaRPr>
        </a:p>
      </dgm:t>
    </dgm:pt>
    <dgm:pt modelId="{454338B8-FD98-485D-8D93-04F8DA8C26C5}" type="parTrans" cxnId="{6C6A092D-DCE7-4F16-BD1F-33CC1D869D2F}">
      <dgm:prSet/>
      <dgm:spPr/>
      <dgm:t>
        <a:bodyPr/>
        <a:lstStyle/>
        <a:p>
          <a:endParaRPr lang="en-US"/>
        </a:p>
      </dgm:t>
    </dgm:pt>
    <dgm:pt modelId="{B2EAD210-B9DF-44A7-98E8-B8605B142D63}" type="sibTrans" cxnId="{6C6A092D-DCE7-4F16-BD1F-33CC1D869D2F}">
      <dgm:prSet/>
      <dgm:spPr/>
      <dgm:t>
        <a:bodyPr/>
        <a:lstStyle/>
        <a:p>
          <a:endParaRPr lang="en-US"/>
        </a:p>
      </dgm:t>
    </dgm:pt>
    <dgm:pt modelId="{A3AA53D1-0A9B-430B-A95A-00F98794F90B}">
      <dgm:prSet phldrT="[Text]"/>
      <dgm:spPr/>
      <dgm:t>
        <a:bodyPr/>
        <a:lstStyle/>
        <a:p>
          <a:r>
            <a:rPr lang="en-US" dirty="0" smtClean="0"/>
            <a:t>Regional business structure</a:t>
          </a:r>
          <a:endParaRPr lang="en-US" dirty="0"/>
        </a:p>
      </dgm:t>
    </dgm:pt>
    <dgm:pt modelId="{25D0C5FC-1AC0-43A6-A340-1EA37B6D3EC3}" type="parTrans" cxnId="{5CCF6A26-B3D0-4BCF-A982-8228B1275328}">
      <dgm:prSet/>
      <dgm:spPr/>
      <dgm:t>
        <a:bodyPr/>
        <a:lstStyle/>
        <a:p>
          <a:endParaRPr lang="en-US"/>
        </a:p>
      </dgm:t>
    </dgm:pt>
    <dgm:pt modelId="{E8AE8335-C797-4321-A158-BD657A92814B}" type="sibTrans" cxnId="{5CCF6A26-B3D0-4BCF-A982-8228B1275328}">
      <dgm:prSet/>
      <dgm:spPr/>
      <dgm:t>
        <a:bodyPr/>
        <a:lstStyle/>
        <a:p>
          <a:endParaRPr lang="en-US"/>
        </a:p>
      </dgm:t>
    </dgm:pt>
    <dgm:pt modelId="{3B2A5C93-EE5D-4A15-BE27-C03ED9F5FF9C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After</a:t>
          </a:r>
          <a:endParaRPr lang="en-US" sz="2800" dirty="0">
            <a:solidFill>
              <a:schemeClr val="tx2"/>
            </a:solidFill>
          </a:endParaRPr>
        </a:p>
      </dgm:t>
    </dgm:pt>
    <dgm:pt modelId="{ECE31E4A-1342-4D1B-86B5-F636E38266B8}" type="parTrans" cxnId="{3F659C49-4143-4F6B-B6F2-7104B927D956}">
      <dgm:prSet/>
      <dgm:spPr/>
      <dgm:t>
        <a:bodyPr/>
        <a:lstStyle/>
        <a:p>
          <a:endParaRPr lang="en-US"/>
        </a:p>
      </dgm:t>
    </dgm:pt>
    <dgm:pt modelId="{DF303189-077D-444C-9DF8-431184037BC3}" type="sibTrans" cxnId="{3F659C49-4143-4F6B-B6F2-7104B927D956}">
      <dgm:prSet/>
      <dgm:spPr/>
      <dgm:t>
        <a:bodyPr/>
        <a:lstStyle/>
        <a:p>
          <a:endParaRPr lang="en-US"/>
        </a:p>
      </dgm:t>
    </dgm:pt>
    <dgm:pt modelId="{BDE81D1C-4578-480A-BFF5-E663E6CA1E68}">
      <dgm:prSet phldrT="[Text]"/>
      <dgm:spPr/>
      <dgm:t>
        <a:bodyPr/>
        <a:lstStyle/>
        <a:p>
          <a:r>
            <a:rPr lang="en-US" dirty="0" smtClean="0"/>
            <a:t>Global business structure</a:t>
          </a:r>
          <a:endParaRPr lang="en-US" dirty="0"/>
        </a:p>
      </dgm:t>
    </dgm:pt>
    <dgm:pt modelId="{070AA03E-3F71-4A87-BF41-B7E88ACE844F}" type="parTrans" cxnId="{B4E962E2-4A72-46B9-A1CC-D5FADCF559ED}">
      <dgm:prSet/>
      <dgm:spPr/>
      <dgm:t>
        <a:bodyPr/>
        <a:lstStyle/>
        <a:p>
          <a:endParaRPr lang="en-US"/>
        </a:p>
      </dgm:t>
    </dgm:pt>
    <dgm:pt modelId="{B66F8822-3E2B-4AF4-8DBC-1AE8D6241ECD}" type="sibTrans" cxnId="{B4E962E2-4A72-46B9-A1CC-D5FADCF559ED}">
      <dgm:prSet/>
      <dgm:spPr/>
      <dgm:t>
        <a:bodyPr/>
        <a:lstStyle/>
        <a:p>
          <a:endParaRPr lang="en-US"/>
        </a:p>
      </dgm:t>
    </dgm:pt>
    <dgm:pt modelId="{3529E909-3EAB-4DEF-AD15-3A080D9DDB58}">
      <dgm:prSet/>
      <dgm:spPr/>
      <dgm:t>
        <a:bodyPr/>
        <a:lstStyle/>
        <a:p>
          <a:r>
            <a:rPr lang="en-US" dirty="0" smtClean="0"/>
            <a:t>High reporting complexity</a:t>
          </a:r>
        </a:p>
      </dgm:t>
    </dgm:pt>
    <dgm:pt modelId="{8523D5EC-3333-4500-8118-93A77A69F8A5}" type="parTrans" cxnId="{434AED3D-954C-4EB1-8B24-62117344D5AF}">
      <dgm:prSet/>
      <dgm:spPr/>
      <dgm:t>
        <a:bodyPr/>
        <a:lstStyle/>
        <a:p>
          <a:endParaRPr lang="en-US"/>
        </a:p>
      </dgm:t>
    </dgm:pt>
    <dgm:pt modelId="{605D0014-EC04-40BF-989C-795B1FC5A836}" type="sibTrans" cxnId="{434AED3D-954C-4EB1-8B24-62117344D5AF}">
      <dgm:prSet/>
      <dgm:spPr/>
      <dgm:t>
        <a:bodyPr/>
        <a:lstStyle/>
        <a:p>
          <a:endParaRPr lang="en-US"/>
        </a:p>
      </dgm:t>
    </dgm:pt>
    <dgm:pt modelId="{91EDA0F6-6B82-4B2A-BEB4-11950F73EE76}">
      <dgm:prSet/>
      <dgm:spPr/>
      <dgm:t>
        <a:bodyPr/>
        <a:lstStyle/>
        <a:p>
          <a:r>
            <a:rPr lang="en-US" dirty="0" smtClean="0"/>
            <a:t>Complex Internal Tree</a:t>
          </a:r>
        </a:p>
      </dgm:t>
    </dgm:pt>
    <dgm:pt modelId="{926D8D89-14F8-4BB1-BAC9-F2B9035727D7}" type="parTrans" cxnId="{A744A0E9-EDE2-40B6-BC62-2D2DA2178775}">
      <dgm:prSet/>
      <dgm:spPr/>
      <dgm:t>
        <a:bodyPr/>
        <a:lstStyle/>
        <a:p>
          <a:endParaRPr lang="en-US"/>
        </a:p>
      </dgm:t>
    </dgm:pt>
    <dgm:pt modelId="{C7E2E24D-82F3-4854-A653-51CF05970F0A}" type="sibTrans" cxnId="{A744A0E9-EDE2-40B6-BC62-2D2DA2178775}">
      <dgm:prSet/>
      <dgm:spPr/>
      <dgm:t>
        <a:bodyPr/>
        <a:lstStyle/>
        <a:p>
          <a:endParaRPr lang="en-US"/>
        </a:p>
      </dgm:t>
    </dgm:pt>
    <dgm:pt modelId="{194C5C49-1910-467E-8DC7-2351C92156D3}">
      <dgm:prSet/>
      <dgm:spPr/>
      <dgm:t>
        <a:bodyPr/>
        <a:lstStyle/>
        <a:p>
          <a:r>
            <a:rPr lang="en-US" smtClean="0"/>
            <a:t>Lower complexity</a:t>
          </a:r>
          <a:endParaRPr lang="en-US" dirty="0" smtClean="0"/>
        </a:p>
      </dgm:t>
    </dgm:pt>
    <dgm:pt modelId="{524EB0C9-F117-46C4-B8D9-6CB4357A9C70}" type="parTrans" cxnId="{AAA0EA96-8665-4D71-80D3-34B58764B210}">
      <dgm:prSet/>
      <dgm:spPr/>
      <dgm:t>
        <a:bodyPr/>
        <a:lstStyle/>
        <a:p>
          <a:endParaRPr lang="en-US"/>
        </a:p>
      </dgm:t>
    </dgm:pt>
    <dgm:pt modelId="{1D8E0D54-BF3F-47E0-9314-E493014580E0}" type="sibTrans" cxnId="{AAA0EA96-8665-4D71-80D3-34B58764B210}">
      <dgm:prSet/>
      <dgm:spPr/>
      <dgm:t>
        <a:bodyPr/>
        <a:lstStyle/>
        <a:p>
          <a:endParaRPr lang="en-US"/>
        </a:p>
      </dgm:t>
    </dgm:pt>
    <dgm:pt modelId="{4DB4B92B-8567-49CA-8571-88406B05D059}">
      <dgm:prSet/>
      <dgm:spPr/>
      <dgm:t>
        <a:bodyPr/>
        <a:lstStyle/>
        <a:p>
          <a:r>
            <a:rPr lang="en-US" dirty="0" smtClean="0"/>
            <a:t>Simplified hierarchy</a:t>
          </a:r>
        </a:p>
      </dgm:t>
    </dgm:pt>
    <dgm:pt modelId="{71E96DE9-EB1A-4BE0-BE00-CD09E16DF55B}" type="parTrans" cxnId="{BB7F1580-8460-4881-BBD2-A3F6D9D2110D}">
      <dgm:prSet/>
      <dgm:spPr/>
      <dgm:t>
        <a:bodyPr/>
        <a:lstStyle/>
        <a:p>
          <a:endParaRPr lang="en-US"/>
        </a:p>
      </dgm:t>
    </dgm:pt>
    <dgm:pt modelId="{C2BF88E7-81E1-4662-93DB-87E00A414A84}" type="sibTrans" cxnId="{BB7F1580-8460-4881-BBD2-A3F6D9D2110D}">
      <dgm:prSet/>
      <dgm:spPr/>
      <dgm:t>
        <a:bodyPr/>
        <a:lstStyle/>
        <a:p>
          <a:endParaRPr lang="en-US"/>
        </a:p>
      </dgm:t>
    </dgm:pt>
    <dgm:pt modelId="{B97EC1C6-9B61-49DE-8AD6-026EBA8A3035}" type="pres">
      <dgm:prSet presAssocID="{95EF29F6-0062-4DC2-A324-7109113A20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41147D8-2BCC-40EF-83C3-1FDA50207371}" type="pres">
      <dgm:prSet presAssocID="{6CAF0B82-2D39-4234-B160-2EAB93785563}" presName="composite" presStyleCnt="0"/>
      <dgm:spPr/>
    </dgm:pt>
    <dgm:pt modelId="{B61720D9-D897-4EF1-8DA3-43F378460733}" type="pres">
      <dgm:prSet presAssocID="{6CAF0B82-2D39-4234-B160-2EAB93785563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793252-0F4F-48BB-9C62-CD2B9C677AEA}" type="pres">
      <dgm:prSet presAssocID="{6CAF0B82-2D39-4234-B160-2EAB93785563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E476EC-7CED-452A-A334-4C777250A8CF}" type="pres">
      <dgm:prSet presAssocID="{B2EAD210-B9DF-44A7-98E8-B8605B142D63}" presName="space" presStyleCnt="0"/>
      <dgm:spPr/>
    </dgm:pt>
    <dgm:pt modelId="{8F0BD988-2BED-43CE-A59F-5061D40BD5CD}" type="pres">
      <dgm:prSet presAssocID="{3B2A5C93-EE5D-4A15-BE27-C03ED9F5FF9C}" presName="composite" presStyleCnt="0"/>
      <dgm:spPr/>
    </dgm:pt>
    <dgm:pt modelId="{6C905DFF-C80E-4136-8442-ED654FA1E871}" type="pres">
      <dgm:prSet presAssocID="{3B2A5C93-EE5D-4A15-BE27-C03ED9F5FF9C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BAD6DE-37AC-4894-90E8-BE536CAD81DE}" type="pres">
      <dgm:prSet presAssocID="{3B2A5C93-EE5D-4A15-BE27-C03ED9F5FF9C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744A0E9-EDE2-40B6-BC62-2D2DA2178775}" srcId="{6CAF0B82-2D39-4234-B160-2EAB93785563}" destId="{91EDA0F6-6B82-4B2A-BEB4-11950F73EE76}" srcOrd="2" destOrd="0" parTransId="{926D8D89-14F8-4BB1-BAC9-F2B9035727D7}" sibTransId="{C7E2E24D-82F3-4854-A653-51CF05970F0A}"/>
    <dgm:cxn modelId="{DCE395F3-A530-4EB7-A8E0-07FFE638AECF}" type="presOf" srcId="{6CAF0B82-2D39-4234-B160-2EAB93785563}" destId="{B61720D9-D897-4EF1-8DA3-43F378460733}" srcOrd="0" destOrd="0" presId="urn:microsoft.com/office/officeart/2005/8/layout/hList1"/>
    <dgm:cxn modelId="{8B056091-3A88-41AE-931A-21BB14DCFE49}" type="presOf" srcId="{194C5C49-1910-467E-8DC7-2351C92156D3}" destId="{50BAD6DE-37AC-4894-90E8-BE536CAD81DE}" srcOrd="0" destOrd="1" presId="urn:microsoft.com/office/officeart/2005/8/layout/hList1"/>
    <dgm:cxn modelId="{8403E5E0-97E5-49EC-A991-885F05A9068A}" type="presOf" srcId="{A3AA53D1-0A9B-430B-A95A-00F98794F90B}" destId="{94793252-0F4F-48BB-9C62-CD2B9C677AEA}" srcOrd="0" destOrd="0" presId="urn:microsoft.com/office/officeart/2005/8/layout/hList1"/>
    <dgm:cxn modelId="{AAA0EA96-8665-4D71-80D3-34B58764B210}" srcId="{3B2A5C93-EE5D-4A15-BE27-C03ED9F5FF9C}" destId="{194C5C49-1910-467E-8DC7-2351C92156D3}" srcOrd="1" destOrd="0" parTransId="{524EB0C9-F117-46C4-B8D9-6CB4357A9C70}" sibTransId="{1D8E0D54-BF3F-47E0-9314-E493014580E0}"/>
    <dgm:cxn modelId="{1C39CC35-E024-4BAC-99DD-ADC5924C3B19}" type="presOf" srcId="{91EDA0F6-6B82-4B2A-BEB4-11950F73EE76}" destId="{94793252-0F4F-48BB-9C62-CD2B9C677AEA}" srcOrd="0" destOrd="2" presId="urn:microsoft.com/office/officeart/2005/8/layout/hList1"/>
    <dgm:cxn modelId="{79E86471-4E45-400C-811A-2D4000AE77B0}" type="presOf" srcId="{3B2A5C93-EE5D-4A15-BE27-C03ED9F5FF9C}" destId="{6C905DFF-C80E-4136-8442-ED654FA1E871}" srcOrd="0" destOrd="0" presId="urn:microsoft.com/office/officeart/2005/8/layout/hList1"/>
    <dgm:cxn modelId="{5703AD63-012A-4385-B96F-6147DCE76F93}" type="presOf" srcId="{BDE81D1C-4578-480A-BFF5-E663E6CA1E68}" destId="{50BAD6DE-37AC-4894-90E8-BE536CAD81DE}" srcOrd="0" destOrd="0" presId="urn:microsoft.com/office/officeart/2005/8/layout/hList1"/>
    <dgm:cxn modelId="{434AED3D-954C-4EB1-8B24-62117344D5AF}" srcId="{6CAF0B82-2D39-4234-B160-2EAB93785563}" destId="{3529E909-3EAB-4DEF-AD15-3A080D9DDB58}" srcOrd="1" destOrd="0" parTransId="{8523D5EC-3333-4500-8118-93A77A69F8A5}" sibTransId="{605D0014-EC04-40BF-989C-795B1FC5A836}"/>
    <dgm:cxn modelId="{BF138573-D4B1-4354-89E3-BEE49CB32DAD}" type="presOf" srcId="{3529E909-3EAB-4DEF-AD15-3A080D9DDB58}" destId="{94793252-0F4F-48BB-9C62-CD2B9C677AEA}" srcOrd="0" destOrd="1" presId="urn:microsoft.com/office/officeart/2005/8/layout/hList1"/>
    <dgm:cxn modelId="{0A6E465F-3D88-4725-8065-FB49751BE7DB}" type="presOf" srcId="{4DB4B92B-8567-49CA-8571-88406B05D059}" destId="{50BAD6DE-37AC-4894-90E8-BE536CAD81DE}" srcOrd="0" destOrd="2" presId="urn:microsoft.com/office/officeart/2005/8/layout/hList1"/>
    <dgm:cxn modelId="{5CCF6A26-B3D0-4BCF-A982-8228B1275328}" srcId="{6CAF0B82-2D39-4234-B160-2EAB93785563}" destId="{A3AA53D1-0A9B-430B-A95A-00F98794F90B}" srcOrd="0" destOrd="0" parTransId="{25D0C5FC-1AC0-43A6-A340-1EA37B6D3EC3}" sibTransId="{E8AE8335-C797-4321-A158-BD657A92814B}"/>
    <dgm:cxn modelId="{4E0D44E1-1566-4D66-92F1-68EB2F054A63}" type="presOf" srcId="{95EF29F6-0062-4DC2-A324-7109113A20CA}" destId="{B97EC1C6-9B61-49DE-8AD6-026EBA8A3035}" srcOrd="0" destOrd="0" presId="urn:microsoft.com/office/officeart/2005/8/layout/hList1"/>
    <dgm:cxn modelId="{3F659C49-4143-4F6B-B6F2-7104B927D956}" srcId="{95EF29F6-0062-4DC2-A324-7109113A20CA}" destId="{3B2A5C93-EE5D-4A15-BE27-C03ED9F5FF9C}" srcOrd="1" destOrd="0" parTransId="{ECE31E4A-1342-4D1B-86B5-F636E38266B8}" sibTransId="{DF303189-077D-444C-9DF8-431184037BC3}"/>
    <dgm:cxn modelId="{BB7F1580-8460-4881-BBD2-A3F6D9D2110D}" srcId="{3B2A5C93-EE5D-4A15-BE27-C03ED9F5FF9C}" destId="{4DB4B92B-8567-49CA-8571-88406B05D059}" srcOrd="2" destOrd="0" parTransId="{71E96DE9-EB1A-4BE0-BE00-CD09E16DF55B}" sibTransId="{C2BF88E7-81E1-4662-93DB-87E00A414A84}"/>
    <dgm:cxn modelId="{6C6A092D-DCE7-4F16-BD1F-33CC1D869D2F}" srcId="{95EF29F6-0062-4DC2-A324-7109113A20CA}" destId="{6CAF0B82-2D39-4234-B160-2EAB93785563}" srcOrd="0" destOrd="0" parTransId="{454338B8-FD98-485D-8D93-04F8DA8C26C5}" sibTransId="{B2EAD210-B9DF-44A7-98E8-B8605B142D63}"/>
    <dgm:cxn modelId="{B4E962E2-4A72-46B9-A1CC-D5FADCF559ED}" srcId="{3B2A5C93-EE5D-4A15-BE27-C03ED9F5FF9C}" destId="{BDE81D1C-4578-480A-BFF5-E663E6CA1E68}" srcOrd="0" destOrd="0" parTransId="{070AA03E-3F71-4A87-BF41-B7E88ACE844F}" sibTransId="{B66F8822-3E2B-4AF4-8DBC-1AE8D6241ECD}"/>
    <dgm:cxn modelId="{3768AFAA-25C5-47B5-969A-CE4CCBDB1A7E}" type="presParOf" srcId="{B97EC1C6-9B61-49DE-8AD6-026EBA8A3035}" destId="{E41147D8-2BCC-40EF-83C3-1FDA50207371}" srcOrd="0" destOrd="0" presId="urn:microsoft.com/office/officeart/2005/8/layout/hList1"/>
    <dgm:cxn modelId="{EA76644D-EE35-499B-99E0-0AA1C123FB65}" type="presParOf" srcId="{E41147D8-2BCC-40EF-83C3-1FDA50207371}" destId="{B61720D9-D897-4EF1-8DA3-43F378460733}" srcOrd="0" destOrd="0" presId="urn:microsoft.com/office/officeart/2005/8/layout/hList1"/>
    <dgm:cxn modelId="{45887C5E-6ADE-4248-BD30-DEC9D0B6BDFE}" type="presParOf" srcId="{E41147D8-2BCC-40EF-83C3-1FDA50207371}" destId="{94793252-0F4F-48BB-9C62-CD2B9C677AEA}" srcOrd="1" destOrd="0" presId="urn:microsoft.com/office/officeart/2005/8/layout/hList1"/>
    <dgm:cxn modelId="{FEF1CAC5-8487-4F50-BE87-B767B121E899}" type="presParOf" srcId="{B97EC1C6-9B61-49DE-8AD6-026EBA8A3035}" destId="{66E476EC-7CED-452A-A334-4C777250A8CF}" srcOrd="1" destOrd="0" presId="urn:microsoft.com/office/officeart/2005/8/layout/hList1"/>
    <dgm:cxn modelId="{4C033494-B656-4D1D-B93A-8D0B31F884C5}" type="presParOf" srcId="{B97EC1C6-9B61-49DE-8AD6-026EBA8A3035}" destId="{8F0BD988-2BED-43CE-A59F-5061D40BD5CD}" srcOrd="2" destOrd="0" presId="urn:microsoft.com/office/officeart/2005/8/layout/hList1"/>
    <dgm:cxn modelId="{11491A98-C418-4BB4-B794-A6D9BB7F827B}" type="presParOf" srcId="{8F0BD988-2BED-43CE-A59F-5061D40BD5CD}" destId="{6C905DFF-C80E-4136-8442-ED654FA1E871}" srcOrd="0" destOrd="0" presId="urn:microsoft.com/office/officeart/2005/8/layout/hList1"/>
    <dgm:cxn modelId="{EC2BA15D-0359-4E21-9B2A-CDC38A218C64}" type="presParOf" srcId="{8F0BD988-2BED-43CE-A59F-5061D40BD5CD}" destId="{50BAD6DE-37AC-4894-90E8-BE536CAD81D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D9754A7-853D-4932-AB5F-70AE3C82CF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346603E1-80A9-4204-B3DC-0B97CF8A95EF}">
      <dgm:prSet phldrT="[Text]" custT="1"/>
      <dgm:spPr/>
      <dgm:t>
        <a:bodyPr/>
        <a:lstStyle/>
        <a:p>
          <a:r>
            <a:rPr lang="en-US" sz="1600" dirty="0" smtClean="0"/>
            <a:t>Mobility</a:t>
          </a:r>
          <a:endParaRPr lang="en-US" sz="1600" dirty="0"/>
        </a:p>
      </dgm:t>
    </dgm:pt>
    <dgm:pt modelId="{CD3D8146-08A2-4315-87E9-53C5C2904CA7}" type="parTrans" cxnId="{CF811379-9BB0-44C4-9C05-8A508B09F789}">
      <dgm:prSet/>
      <dgm:spPr/>
      <dgm:t>
        <a:bodyPr/>
        <a:lstStyle/>
        <a:p>
          <a:endParaRPr lang="en-US"/>
        </a:p>
      </dgm:t>
    </dgm:pt>
    <dgm:pt modelId="{1F5017C4-627F-4C12-9835-45187F853660}" type="sibTrans" cxnId="{CF811379-9BB0-44C4-9C05-8A508B09F789}">
      <dgm:prSet/>
      <dgm:spPr/>
      <dgm:t>
        <a:bodyPr/>
        <a:lstStyle/>
        <a:p>
          <a:endParaRPr lang="en-US"/>
        </a:p>
      </dgm:t>
    </dgm:pt>
    <dgm:pt modelId="{39A54694-A7A4-4D91-AD91-6D40EE7CC9AD}">
      <dgm:prSet custT="1"/>
      <dgm:spPr/>
      <dgm:t>
        <a:bodyPr/>
        <a:lstStyle/>
        <a:p>
          <a:pPr>
            <a:spcAft>
              <a:spcPts val="0"/>
            </a:spcAft>
          </a:pPr>
          <a:r>
            <a:rPr lang="en-US" sz="2000" b="1" dirty="0" smtClean="0">
              <a:solidFill>
                <a:schemeClr val="tx2"/>
              </a:solidFill>
            </a:rPr>
            <a:t>ESG</a:t>
          </a:r>
        </a:p>
        <a:p>
          <a:pPr>
            <a:spcAft>
              <a:spcPts val="0"/>
            </a:spcAft>
          </a:pPr>
          <a:r>
            <a:rPr lang="en-US" sz="1600" b="1" dirty="0" smtClean="0">
              <a:solidFill>
                <a:schemeClr val="tx2"/>
              </a:solidFill>
            </a:rPr>
            <a:t>Enterprise Solution Group</a:t>
          </a:r>
        </a:p>
      </dgm:t>
    </dgm:pt>
    <dgm:pt modelId="{81C62A9D-2882-4513-B040-6673EAB127EB}" type="parTrans" cxnId="{5D6FBB33-F525-4245-8384-2C7D5643CF46}">
      <dgm:prSet/>
      <dgm:spPr/>
      <dgm:t>
        <a:bodyPr/>
        <a:lstStyle/>
        <a:p>
          <a:endParaRPr lang="en-US"/>
        </a:p>
      </dgm:t>
    </dgm:pt>
    <dgm:pt modelId="{D0CC94BB-CE2C-40BA-8AD6-63C0C798D488}" type="sibTrans" cxnId="{5D6FBB33-F525-4245-8384-2C7D5643CF46}">
      <dgm:prSet/>
      <dgm:spPr/>
      <dgm:t>
        <a:bodyPr/>
        <a:lstStyle/>
        <a:p>
          <a:endParaRPr lang="en-US"/>
        </a:p>
      </dgm:t>
    </dgm:pt>
    <dgm:pt modelId="{D1EE2876-8759-4C05-9302-A3C6ED388BA4}">
      <dgm:prSet custT="1"/>
      <dgm:spPr/>
      <dgm:t>
        <a:bodyPr/>
        <a:lstStyle/>
        <a:p>
          <a:r>
            <a:rPr lang="en-US" sz="2000" b="1" dirty="0" smtClean="0">
              <a:solidFill>
                <a:schemeClr val="tx2"/>
              </a:solidFill>
            </a:rPr>
            <a:t>Software</a:t>
          </a:r>
        </a:p>
        <a:p>
          <a:r>
            <a:rPr lang="en-US" sz="1800" b="1" dirty="0" smtClean="0">
              <a:solidFill>
                <a:schemeClr val="tx2"/>
              </a:solidFill>
            </a:rPr>
            <a:t>Dell Software</a:t>
          </a:r>
        </a:p>
      </dgm:t>
    </dgm:pt>
    <dgm:pt modelId="{136ACC24-1EF7-41B1-84C8-ABFEE05987E1}" type="parTrans" cxnId="{E05C5915-4C35-4B28-BB2E-A0DA7F5B521C}">
      <dgm:prSet/>
      <dgm:spPr/>
      <dgm:t>
        <a:bodyPr/>
        <a:lstStyle/>
        <a:p>
          <a:endParaRPr lang="en-US"/>
        </a:p>
      </dgm:t>
    </dgm:pt>
    <dgm:pt modelId="{DBFCBA33-D92C-4465-828D-84B644E7DAB2}" type="sibTrans" cxnId="{E05C5915-4C35-4B28-BB2E-A0DA7F5B521C}">
      <dgm:prSet/>
      <dgm:spPr/>
      <dgm:t>
        <a:bodyPr/>
        <a:lstStyle/>
        <a:p>
          <a:endParaRPr lang="en-US"/>
        </a:p>
      </dgm:t>
    </dgm:pt>
    <dgm:pt modelId="{0F2A1686-D830-4CA4-BCC7-40479ED9FAAF}">
      <dgm:prSet custT="1"/>
      <dgm:spPr/>
      <dgm:t>
        <a:bodyPr/>
        <a:lstStyle/>
        <a:p>
          <a:r>
            <a:rPr lang="en-US" sz="2000" b="1" dirty="0" smtClean="0">
              <a:solidFill>
                <a:schemeClr val="tx2"/>
              </a:solidFill>
            </a:rPr>
            <a:t>Services</a:t>
          </a:r>
        </a:p>
        <a:p>
          <a:r>
            <a:rPr lang="en-US" sz="1800" b="1" dirty="0" smtClean="0">
              <a:solidFill>
                <a:schemeClr val="tx2"/>
              </a:solidFill>
            </a:rPr>
            <a:t>Dell Services</a:t>
          </a:r>
          <a:endParaRPr lang="en-US" sz="1800" b="1" dirty="0">
            <a:solidFill>
              <a:schemeClr val="tx2"/>
            </a:solidFill>
          </a:endParaRPr>
        </a:p>
      </dgm:t>
    </dgm:pt>
    <dgm:pt modelId="{440DA0BD-7871-4CB6-879F-3BD5ADB4CC83}" type="parTrans" cxnId="{C94A8212-A0A1-4877-9943-BCA249C10737}">
      <dgm:prSet/>
      <dgm:spPr/>
      <dgm:t>
        <a:bodyPr/>
        <a:lstStyle/>
        <a:p>
          <a:endParaRPr lang="en-US"/>
        </a:p>
      </dgm:t>
    </dgm:pt>
    <dgm:pt modelId="{900CFE65-1960-4FE8-BF4C-7A8989284385}" type="sibTrans" cxnId="{C94A8212-A0A1-4877-9943-BCA249C10737}">
      <dgm:prSet/>
      <dgm:spPr/>
      <dgm:t>
        <a:bodyPr/>
        <a:lstStyle/>
        <a:p>
          <a:endParaRPr lang="en-US"/>
        </a:p>
      </dgm:t>
    </dgm:pt>
    <dgm:pt modelId="{62D8017F-EBFF-4C5A-BDA1-5A28F48F4A92}">
      <dgm:prSet phldrT="[Text]" custT="1"/>
      <dgm:spPr/>
      <dgm:t>
        <a:bodyPr/>
        <a:lstStyle/>
        <a:p>
          <a:pPr>
            <a:spcAft>
              <a:spcPts val="0"/>
            </a:spcAft>
          </a:pPr>
          <a:r>
            <a:rPr lang="en-US" sz="2000" b="1" dirty="0" smtClean="0">
              <a:solidFill>
                <a:schemeClr val="tx2"/>
              </a:solidFill>
            </a:rPr>
            <a:t>EUC</a:t>
          </a:r>
        </a:p>
        <a:p>
          <a:pPr>
            <a:spcAft>
              <a:spcPts val="0"/>
            </a:spcAft>
          </a:pPr>
          <a:r>
            <a:rPr lang="en-US" sz="1600" b="1" dirty="0" smtClean="0">
              <a:solidFill>
                <a:schemeClr val="tx2"/>
              </a:solidFill>
            </a:rPr>
            <a:t>End-user computing</a:t>
          </a:r>
          <a:endParaRPr lang="en-US" sz="1400" b="1" dirty="0" smtClean="0">
            <a:solidFill>
              <a:schemeClr val="tx2"/>
            </a:solidFill>
          </a:endParaRPr>
        </a:p>
      </dgm:t>
    </dgm:pt>
    <dgm:pt modelId="{CBEE8315-03DE-4ECA-BA12-BC0B32BC54D3}" type="sibTrans" cxnId="{7EFDD833-79DB-40D8-9116-0597127D9DA9}">
      <dgm:prSet/>
      <dgm:spPr/>
      <dgm:t>
        <a:bodyPr/>
        <a:lstStyle/>
        <a:p>
          <a:endParaRPr lang="en-US"/>
        </a:p>
      </dgm:t>
    </dgm:pt>
    <dgm:pt modelId="{BBEAC262-7E74-4B1E-AE1E-BF1419989FE6}" type="parTrans" cxnId="{7EFDD833-79DB-40D8-9116-0597127D9DA9}">
      <dgm:prSet/>
      <dgm:spPr/>
      <dgm:t>
        <a:bodyPr/>
        <a:lstStyle/>
        <a:p>
          <a:endParaRPr lang="en-US"/>
        </a:p>
      </dgm:t>
    </dgm:pt>
    <dgm:pt modelId="{CFBD4EDD-42C7-48F6-8572-7FFD03844347}">
      <dgm:prSet custT="1"/>
      <dgm:spPr/>
      <dgm:t>
        <a:bodyPr/>
        <a:lstStyle/>
        <a:p>
          <a:r>
            <a:rPr lang="en-US" sz="1600" dirty="0" smtClean="0"/>
            <a:t>Desktops</a:t>
          </a:r>
          <a:endParaRPr lang="en-US" sz="1600" dirty="0"/>
        </a:p>
      </dgm:t>
    </dgm:pt>
    <dgm:pt modelId="{5E92AB9D-ECBF-4A14-8472-43DFC9D7D52C}" type="parTrans" cxnId="{B01DB2C1-C453-4FC9-BD55-187161E4541D}">
      <dgm:prSet/>
      <dgm:spPr/>
      <dgm:t>
        <a:bodyPr/>
        <a:lstStyle/>
        <a:p>
          <a:endParaRPr lang="en-US"/>
        </a:p>
      </dgm:t>
    </dgm:pt>
    <dgm:pt modelId="{4AC0201C-B79A-4FF1-83EB-7E0925394255}" type="sibTrans" cxnId="{B01DB2C1-C453-4FC9-BD55-187161E4541D}">
      <dgm:prSet/>
      <dgm:spPr/>
      <dgm:t>
        <a:bodyPr/>
        <a:lstStyle/>
        <a:p>
          <a:endParaRPr lang="en-US"/>
        </a:p>
      </dgm:t>
    </dgm:pt>
    <dgm:pt modelId="{27A0AF70-CE1D-49AC-8674-8C4BA2E52BA6}">
      <dgm:prSet custT="1"/>
      <dgm:spPr/>
      <dgm:t>
        <a:bodyPr/>
        <a:lstStyle/>
        <a:p>
          <a:r>
            <a:rPr lang="en-US" sz="1600" dirty="0" smtClean="0"/>
            <a:t>Notebooks</a:t>
          </a:r>
          <a:endParaRPr lang="en-US" sz="1600" dirty="0"/>
        </a:p>
      </dgm:t>
    </dgm:pt>
    <dgm:pt modelId="{B37D7BC8-1209-4046-B7EA-9CF9BEF797A1}" type="parTrans" cxnId="{40897EAB-287F-4BB3-9BDE-044CECAC9E3B}">
      <dgm:prSet/>
      <dgm:spPr/>
      <dgm:t>
        <a:bodyPr/>
        <a:lstStyle/>
        <a:p>
          <a:endParaRPr lang="en-US"/>
        </a:p>
      </dgm:t>
    </dgm:pt>
    <dgm:pt modelId="{95E72E93-4E78-4E63-B6B0-F423B6BCBA0C}" type="sibTrans" cxnId="{40897EAB-287F-4BB3-9BDE-044CECAC9E3B}">
      <dgm:prSet/>
      <dgm:spPr/>
      <dgm:t>
        <a:bodyPr/>
        <a:lstStyle/>
        <a:p>
          <a:endParaRPr lang="en-US"/>
        </a:p>
      </dgm:t>
    </dgm:pt>
    <dgm:pt modelId="{B82739EA-2ECF-477F-8397-FF6DF9100241}">
      <dgm:prSet custT="1"/>
      <dgm:spPr/>
      <dgm:t>
        <a:bodyPr/>
        <a:lstStyle/>
        <a:p>
          <a:r>
            <a:rPr lang="en-US" sz="1600" dirty="0" smtClean="0"/>
            <a:t>3rd party SW</a:t>
          </a:r>
          <a:endParaRPr lang="en-US" sz="1600" dirty="0"/>
        </a:p>
      </dgm:t>
    </dgm:pt>
    <dgm:pt modelId="{E726E777-54D9-4552-A24B-EA316C661472}" type="parTrans" cxnId="{08D1F5F3-5714-43AE-8C6E-C053193B830D}">
      <dgm:prSet/>
      <dgm:spPr/>
      <dgm:t>
        <a:bodyPr/>
        <a:lstStyle/>
        <a:p>
          <a:endParaRPr lang="en-US"/>
        </a:p>
      </dgm:t>
    </dgm:pt>
    <dgm:pt modelId="{E96DBED6-7F84-4392-9323-B6F60E98984F}" type="sibTrans" cxnId="{08D1F5F3-5714-43AE-8C6E-C053193B830D}">
      <dgm:prSet/>
      <dgm:spPr/>
      <dgm:t>
        <a:bodyPr/>
        <a:lstStyle/>
        <a:p>
          <a:endParaRPr lang="en-US"/>
        </a:p>
      </dgm:t>
    </dgm:pt>
    <dgm:pt modelId="{33C6113D-0AAB-46C8-A89E-7643E4529468}">
      <dgm:prSet custT="1"/>
      <dgm:spPr/>
      <dgm:t>
        <a:bodyPr/>
        <a:lstStyle/>
        <a:p>
          <a:r>
            <a:rPr lang="en-US" sz="1600" dirty="0" smtClean="0"/>
            <a:t>Client-related SVC &amp; products</a:t>
          </a:r>
          <a:endParaRPr lang="en-US" sz="1600" dirty="0"/>
        </a:p>
      </dgm:t>
    </dgm:pt>
    <dgm:pt modelId="{E54D3590-7788-43D3-9AE7-3A9A23971324}" type="parTrans" cxnId="{AC10D59F-3671-4A23-9E3F-18A34EC03881}">
      <dgm:prSet/>
      <dgm:spPr/>
      <dgm:t>
        <a:bodyPr/>
        <a:lstStyle/>
        <a:p>
          <a:endParaRPr lang="en-US"/>
        </a:p>
      </dgm:t>
    </dgm:pt>
    <dgm:pt modelId="{43332FBC-1601-47FC-A747-F0AC56E8B540}" type="sibTrans" cxnId="{AC10D59F-3671-4A23-9E3F-18A34EC03881}">
      <dgm:prSet/>
      <dgm:spPr/>
      <dgm:t>
        <a:bodyPr/>
        <a:lstStyle/>
        <a:p>
          <a:endParaRPr lang="en-US"/>
        </a:p>
      </dgm:t>
    </dgm:pt>
    <dgm:pt modelId="{249109D8-C838-483A-A7AE-E6E24CD575D7}">
      <dgm:prSet custT="1"/>
      <dgm:spPr/>
      <dgm:t>
        <a:bodyPr/>
        <a:lstStyle/>
        <a:p>
          <a:r>
            <a:rPr lang="en-US" sz="1600" dirty="0" smtClean="0"/>
            <a:t>Servers</a:t>
          </a:r>
          <a:endParaRPr lang="en-US" sz="1600" dirty="0"/>
        </a:p>
      </dgm:t>
    </dgm:pt>
    <dgm:pt modelId="{FA776E34-3A10-4352-84E2-95F0634130D6}" type="parTrans" cxnId="{08977A9E-6869-47FE-8028-42E16C5380D2}">
      <dgm:prSet/>
      <dgm:spPr/>
      <dgm:t>
        <a:bodyPr/>
        <a:lstStyle/>
        <a:p>
          <a:endParaRPr lang="en-US"/>
        </a:p>
      </dgm:t>
    </dgm:pt>
    <dgm:pt modelId="{E3FF7965-A45D-453E-9A67-027030A0189C}" type="sibTrans" cxnId="{08977A9E-6869-47FE-8028-42E16C5380D2}">
      <dgm:prSet/>
      <dgm:spPr/>
      <dgm:t>
        <a:bodyPr/>
        <a:lstStyle/>
        <a:p>
          <a:endParaRPr lang="en-US"/>
        </a:p>
      </dgm:t>
    </dgm:pt>
    <dgm:pt modelId="{CC86C9B1-8662-4BFC-96E3-CE50AE1245B1}">
      <dgm:prSet custT="1"/>
      <dgm:spPr/>
      <dgm:t>
        <a:bodyPr/>
        <a:lstStyle/>
        <a:p>
          <a:r>
            <a:rPr lang="en-US" sz="1600" dirty="0" smtClean="0"/>
            <a:t>Networking</a:t>
          </a:r>
          <a:endParaRPr lang="en-US" sz="1600" dirty="0"/>
        </a:p>
      </dgm:t>
    </dgm:pt>
    <dgm:pt modelId="{21A5F60A-B46D-4BE9-90E4-6039894D17E4}" type="parTrans" cxnId="{AC6BA41A-0B81-4109-B447-3EFD41840B00}">
      <dgm:prSet/>
      <dgm:spPr/>
      <dgm:t>
        <a:bodyPr/>
        <a:lstStyle/>
        <a:p>
          <a:endParaRPr lang="en-US"/>
        </a:p>
      </dgm:t>
    </dgm:pt>
    <dgm:pt modelId="{1C86EFEF-A56E-4CD9-B552-EF1A2664DDAA}" type="sibTrans" cxnId="{AC6BA41A-0B81-4109-B447-3EFD41840B00}">
      <dgm:prSet/>
      <dgm:spPr/>
      <dgm:t>
        <a:bodyPr/>
        <a:lstStyle/>
        <a:p>
          <a:endParaRPr lang="en-US"/>
        </a:p>
      </dgm:t>
    </dgm:pt>
    <dgm:pt modelId="{B84928D5-B641-4DC3-BFCF-5DC551C7E254}">
      <dgm:prSet custT="1"/>
      <dgm:spPr/>
      <dgm:t>
        <a:bodyPr/>
        <a:lstStyle/>
        <a:p>
          <a:r>
            <a:rPr lang="en-US" sz="1600" dirty="0" smtClean="0"/>
            <a:t>Storage</a:t>
          </a:r>
          <a:endParaRPr lang="en-US" sz="1600" dirty="0"/>
        </a:p>
      </dgm:t>
    </dgm:pt>
    <dgm:pt modelId="{1D0CC067-E005-4793-BE04-5580A934861F}" type="parTrans" cxnId="{423B9A79-7A9A-4D88-B2B7-BE1C3E7049FC}">
      <dgm:prSet/>
      <dgm:spPr/>
      <dgm:t>
        <a:bodyPr/>
        <a:lstStyle/>
        <a:p>
          <a:endParaRPr lang="en-US"/>
        </a:p>
      </dgm:t>
    </dgm:pt>
    <dgm:pt modelId="{73478243-83CF-4DE3-BC4E-985B9A928BB6}" type="sibTrans" cxnId="{423B9A79-7A9A-4D88-B2B7-BE1C3E7049FC}">
      <dgm:prSet/>
      <dgm:spPr/>
      <dgm:t>
        <a:bodyPr/>
        <a:lstStyle/>
        <a:p>
          <a:endParaRPr lang="en-US"/>
        </a:p>
      </dgm:t>
    </dgm:pt>
    <dgm:pt modelId="{FE0A59DD-2E49-48C8-928D-694C206E810D}">
      <dgm:prSet custT="1"/>
      <dgm:spPr/>
      <dgm:t>
        <a:bodyPr/>
        <a:lstStyle/>
        <a:p>
          <a:r>
            <a:rPr lang="en-US" sz="1600" dirty="0" smtClean="0"/>
            <a:t>Related peripherals products</a:t>
          </a:r>
          <a:endParaRPr lang="en-US" sz="1600" dirty="0"/>
        </a:p>
      </dgm:t>
    </dgm:pt>
    <dgm:pt modelId="{BB0DDCA0-7C97-471E-9D64-8FA96FEECA74}" type="parTrans" cxnId="{19E3138B-77A1-4175-9BCD-C9AFCE87AF7A}">
      <dgm:prSet/>
      <dgm:spPr/>
      <dgm:t>
        <a:bodyPr/>
        <a:lstStyle/>
        <a:p>
          <a:endParaRPr lang="en-US"/>
        </a:p>
      </dgm:t>
    </dgm:pt>
    <dgm:pt modelId="{2AF39452-81EF-4DB6-9D81-021939F3EF24}" type="sibTrans" cxnId="{19E3138B-77A1-4175-9BCD-C9AFCE87AF7A}">
      <dgm:prSet/>
      <dgm:spPr/>
      <dgm:t>
        <a:bodyPr/>
        <a:lstStyle/>
        <a:p>
          <a:endParaRPr lang="en-US"/>
        </a:p>
      </dgm:t>
    </dgm:pt>
    <dgm:pt modelId="{C2BE3127-D78B-4D46-A4F0-4ADA2D0BA163}">
      <dgm:prSet custT="1"/>
      <dgm:spPr/>
      <dgm:t>
        <a:bodyPr/>
        <a:lstStyle/>
        <a:p>
          <a:r>
            <a:rPr lang="en-US" sz="1600" dirty="0" smtClean="0"/>
            <a:t>Support &amp; Deployment</a:t>
          </a:r>
          <a:endParaRPr lang="en-US" sz="1600" dirty="0"/>
        </a:p>
      </dgm:t>
    </dgm:pt>
    <dgm:pt modelId="{F37630A1-B0F3-4874-9B69-B94D2192AEDD}" type="parTrans" cxnId="{51BDF2DF-C7A1-4178-B300-97912786A77E}">
      <dgm:prSet/>
      <dgm:spPr/>
      <dgm:t>
        <a:bodyPr/>
        <a:lstStyle/>
        <a:p>
          <a:endParaRPr lang="en-US"/>
        </a:p>
      </dgm:t>
    </dgm:pt>
    <dgm:pt modelId="{B21E641A-DFFC-4324-87B0-2016949A09BB}" type="sibTrans" cxnId="{51BDF2DF-C7A1-4178-B300-97912786A77E}">
      <dgm:prSet/>
      <dgm:spPr/>
      <dgm:t>
        <a:bodyPr/>
        <a:lstStyle/>
        <a:p>
          <a:endParaRPr lang="en-US"/>
        </a:p>
      </dgm:t>
    </dgm:pt>
    <dgm:pt modelId="{78651831-3217-465E-830E-193465AF3C52}">
      <dgm:prSet custT="1"/>
      <dgm:spPr/>
      <dgm:t>
        <a:bodyPr/>
        <a:lstStyle/>
        <a:p>
          <a:r>
            <a:rPr lang="en-US" sz="1600" dirty="0" smtClean="0"/>
            <a:t>Infrastructure &amp; Cloud</a:t>
          </a:r>
          <a:endParaRPr lang="en-US" sz="1600" dirty="0"/>
        </a:p>
      </dgm:t>
    </dgm:pt>
    <dgm:pt modelId="{F017E4B1-2700-45E0-A939-8FED8D4CB6EF}" type="parTrans" cxnId="{759EE71F-EA1A-42E4-9E37-AD313AFC24F9}">
      <dgm:prSet/>
      <dgm:spPr/>
      <dgm:t>
        <a:bodyPr/>
        <a:lstStyle/>
        <a:p>
          <a:endParaRPr lang="en-US"/>
        </a:p>
      </dgm:t>
    </dgm:pt>
    <dgm:pt modelId="{BA1794D8-5CA8-40D2-BB0C-CE272AB7AF7B}" type="sibTrans" cxnId="{759EE71F-EA1A-42E4-9E37-AD313AFC24F9}">
      <dgm:prSet/>
      <dgm:spPr/>
      <dgm:t>
        <a:bodyPr/>
        <a:lstStyle/>
        <a:p>
          <a:endParaRPr lang="en-US"/>
        </a:p>
      </dgm:t>
    </dgm:pt>
    <dgm:pt modelId="{AF3C8AA4-D8F4-45D9-A511-FBDC770FFD8A}">
      <dgm:prSet custT="1"/>
      <dgm:spPr/>
      <dgm:t>
        <a:bodyPr/>
        <a:lstStyle/>
        <a:p>
          <a:r>
            <a:rPr lang="en-US" sz="1600" dirty="0" smtClean="0"/>
            <a:t>Security</a:t>
          </a:r>
          <a:endParaRPr lang="en-US" sz="1600" dirty="0"/>
        </a:p>
      </dgm:t>
    </dgm:pt>
    <dgm:pt modelId="{83052C6E-D31E-4E63-B29C-16537CED6877}" type="parTrans" cxnId="{07635A03-3977-4D18-BA50-662C2FF0748D}">
      <dgm:prSet/>
      <dgm:spPr/>
      <dgm:t>
        <a:bodyPr/>
        <a:lstStyle/>
        <a:p>
          <a:endParaRPr lang="en-US"/>
        </a:p>
      </dgm:t>
    </dgm:pt>
    <dgm:pt modelId="{5447AE35-F3C3-46BC-8B47-75BB76503D3C}" type="sibTrans" cxnId="{07635A03-3977-4D18-BA50-662C2FF0748D}">
      <dgm:prSet/>
      <dgm:spPr/>
      <dgm:t>
        <a:bodyPr/>
        <a:lstStyle/>
        <a:p>
          <a:endParaRPr lang="en-US"/>
        </a:p>
      </dgm:t>
    </dgm:pt>
    <dgm:pt modelId="{B906FE1C-7799-443F-9EB5-91E521A98A0D}">
      <dgm:prSet custT="1"/>
      <dgm:spPr/>
      <dgm:t>
        <a:bodyPr/>
        <a:lstStyle/>
        <a:p>
          <a:r>
            <a:rPr lang="en-US" sz="1600" dirty="0" smtClean="0"/>
            <a:t>Applications &amp; Business process</a:t>
          </a:r>
          <a:endParaRPr lang="en-US" sz="1600" dirty="0"/>
        </a:p>
      </dgm:t>
    </dgm:pt>
    <dgm:pt modelId="{8A7D80B4-CC62-42B9-BEE6-0E2F1F689F61}" type="parTrans" cxnId="{DD54EA02-B7A5-43B3-B688-4CE7EEFABB19}">
      <dgm:prSet/>
      <dgm:spPr/>
      <dgm:t>
        <a:bodyPr/>
        <a:lstStyle/>
        <a:p>
          <a:endParaRPr lang="en-US"/>
        </a:p>
      </dgm:t>
    </dgm:pt>
    <dgm:pt modelId="{A66BA4B7-8F0E-4751-8364-2623F64F4BDD}" type="sibTrans" cxnId="{DD54EA02-B7A5-43B3-B688-4CE7EEFABB19}">
      <dgm:prSet/>
      <dgm:spPr/>
      <dgm:t>
        <a:bodyPr/>
        <a:lstStyle/>
        <a:p>
          <a:endParaRPr lang="en-US"/>
        </a:p>
      </dgm:t>
    </dgm:pt>
    <dgm:pt modelId="{1525797E-6CB6-4039-AFD9-D7FEF1372886}">
      <dgm:prSet custT="1"/>
      <dgm:spPr/>
      <dgm:t>
        <a:bodyPr/>
        <a:lstStyle/>
        <a:p>
          <a:r>
            <a:rPr lang="en-US" sz="1600" dirty="0" smtClean="0"/>
            <a:t>Systems management</a:t>
          </a:r>
          <a:endParaRPr lang="en-US" sz="1600" dirty="0"/>
        </a:p>
      </dgm:t>
    </dgm:pt>
    <dgm:pt modelId="{B9426D42-1241-42C3-AB46-97E6E45E127C}" type="parTrans" cxnId="{B8727213-B0DF-4154-915B-18B623A1B176}">
      <dgm:prSet/>
      <dgm:spPr/>
      <dgm:t>
        <a:bodyPr/>
        <a:lstStyle/>
        <a:p>
          <a:endParaRPr lang="en-US"/>
        </a:p>
      </dgm:t>
    </dgm:pt>
    <dgm:pt modelId="{262B0148-C28F-4592-894E-92FD44BE8093}" type="sibTrans" cxnId="{B8727213-B0DF-4154-915B-18B623A1B176}">
      <dgm:prSet/>
      <dgm:spPr/>
      <dgm:t>
        <a:bodyPr/>
        <a:lstStyle/>
        <a:p>
          <a:endParaRPr lang="en-US"/>
        </a:p>
      </dgm:t>
    </dgm:pt>
    <dgm:pt modelId="{41A22629-61F4-4385-9DC0-5497E1C26457}">
      <dgm:prSet custT="1"/>
      <dgm:spPr/>
      <dgm:t>
        <a:bodyPr/>
        <a:lstStyle/>
        <a:p>
          <a:r>
            <a:rPr lang="en-US" sz="1600" dirty="0" smtClean="0"/>
            <a:t>Security and business intelligence SW</a:t>
          </a:r>
          <a:endParaRPr lang="en-US" sz="1600" dirty="0"/>
        </a:p>
      </dgm:t>
    </dgm:pt>
    <dgm:pt modelId="{F53D2AE9-A85C-4E9C-847F-31E5A1E87670}" type="parTrans" cxnId="{6741CC09-5B73-429F-BBBE-4CB51652B7BD}">
      <dgm:prSet/>
      <dgm:spPr/>
      <dgm:t>
        <a:bodyPr/>
        <a:lstStyle/>
        <a:p>
          <a:endParaRPr lang="en-US"/>
        </a:p>
      </dgm:t>
    </dgm:pt>
    <dgm:pt modelId="{C26354A0-516E-4156-B39E-3530C1BA2F1C}" type="sibTrans" cxnId="{6741CC09-5B73-429F-BBBE-4CB51652B7BD}">
      <dgm:prSet/>
      <dgm:spPr/>
      <dgm:t>
        <a:bodyPr/>
        <a:lstStyle/>
        <a:p>
          <a:endParaRPr lang="en-US"/>
        </a:p>
      </dgm:t>
    </dgm:pt>
    <dgm:pt modelId="{9D80F74C-5B6E-4277-9200-B1CD0EAD792B}" type="pres">
      <dgm:prSet presAssocID="{BD9754A7-853D-4932-AB5F-70AE3C82CF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C0B6BD6-9790-4D30-B329-9C6F6DCE44A4}" type="pres">
      <dgm:prSet presAssocID="{62D8017F-EBFF-4C5A-BDA1-5A28F48F4A92}" presName="composite" presStyleCnt="0"/>
      <dgm:spPr/>
    </dgm:pt>
    <dgm:pt modelId="{5A04E253-2ACA-4D17-B7B3-FB01CE5C18D8}" type="pres">
      <dgm:prSet presAssocID="{62D8017F-EBFF-4C5A-BDA1-5A28F48F4A92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C1FD4-06E5-4DD9-9416-D2E194F3AA49}" type="pres">
      <dgm:prSet presAssocID="{62D8017F-EBFF-4C5A-BDA1-5A28F48F4A92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1DB333-E6FB-4079-8EC0-DE4EB5B94498}" type="pres">
      <dgm:prSet presAssocID="{CBEE8315-03DE-4ECA-BA12-BC0B32BC54D3}" presName="space" presStyleCnt="0"/>
      <dgm:spPr/>
    </dgm:pt>
    <dgm:pt modelId="{57F5494E-AD5F-4848-81FB-8C535E1F8D78}" type="pres">
      <dgm:prSet presAssocID="{39A54694-A7A4-4D91-AD91-6D40EE7CC9AD}" presName="composite" presStyleCnt="0"/>
      <dgm:spPr/>
    </dgm:pt>
    <dgm:pt modelId="{4A46C2D3-19AC-4EB8-8377-111FE9101F0A}" type="pres">
      <dgm:prSet presAssocID="{39A54694-A7A4-4D91-AD91-6D40EE7CC9AD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13642A-BFC5-4871-BF0A-69D261FB5F98}" type="pres">
      <dgm:prSet presAssocID="{39A54694-A7A4-4D91-AD91-6D40EE7CC9AD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803010-89B1-4E9E-8746-BC7A784CF287}" type="pres">
      <dgm:prSet presAssocID="{D0CC94BB-CE2C-40BA-8AD6-63C0C798D488}" presName="space" presStyleCnt="0"/>
      <dgm:spPr/>
    </dgm:pt>
    <dgm:pt modelId="{EC3AE997-63C4-47F5-9D02-DF94DA596F42}" type="pres">
      <dgm:prSet presAssocID="{0F2A1686-D830-4CA4-BCC7-40479ED9FAAF}" presName="composite" presStyleCnt="0"/>
      <dgm:spPr/>
    </dgm:pt>
    <dgm:pt modelId="{882DC342-08F5-443A-A4E8-D25BC8E98BC4}" type="pres">
      <dgm:prSet presAssocID="{0F2A1686-D830-4CA4-BCC7-40479ED9FAAF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668119-9F26-404B-A5C8-9043DD8F9452}" type="pres">
      <dgm:prSet presAssocID="{0F2A1686-D830-4CA4-BCC7-40479ED9FAAF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C07E33-2833-48E4-9B04-D98C420B1328}" type="pres">
      <dgm:prSet presAssocID="{900CFE65-1960-4FE8-BF4C-7A8989284385}" presName="space" presStyleCnt="0"/>
      <dgm:spPr/>
    </dgm:pt>
    <dgm:pt modelId="{9EFD8DD9-2024-4952-AF5A-89A1519443BD}" type="pres">
      <dgm:prSet presAssocID="{D1EE2876-8759-4C05-9302-A3C6ED388BA4}" presName="composite" presStyleCnt="0"/>
      <dgm:spPr/>
    </dgm:pt>
    <dgm:pt modelId="{B527A297-1585-48FE-82A4-A10D59D17255}" type="pres">
      <dgm:prSet presAssocID="{D1EE2876-8759-4C05-9302-A3C6ED388BA4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AFEF8D-BB4F-4598-A62A-26BE28601955}" type="pres">
      <dgm:prSet presAssocID="{D1EE2876-8759-4C05-9302-A3C6ED388BA4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8977A9E-6869-47FE-8028-42E16C5380D2}" srcId="{39A54694-A7A4-4D91-AD91-6D40EE7CC9AD}" destId="{249109D8-C838-483A-A7AE-E6E24CD575D7}" srcOrd="0" destOrd="0" parTransId="{FA776E34-3A10-4352-84E2-95F0634130D6}" sibTransId="{E3FF7965-A45D-453E-9A67-027030A0189C}"/>
    <dgm:cxn modelId="{46D03A89-7C83-4A52-85CD-0CFA8C602468}" type="presOf" srcId="{FE0A59DD-2E49-48C8-928D-694C206E810D}" destId="{1913642A-BFC5-4871-BF0A-69D261FB5F98}" srcOrd="0" destOrd="3" presId="urn:microsoft.com/office/officeart/2005/8/layout/hList1"/>
    <dgm:cxn modelId="{E05C5915-4C35-4B28-BB2E-A0DA7F5B521C}" srcId="{BD9754A7-853D-4932-AB5F-70AE3C82CF30}" destId="{D1EE2876-8759-4C05-9302-A3C6ED388BA4}" srcOrd="3" destOrd="0" parTransId="{136ACC24-1EF7-41B1-84C8-ABFEE05987E1}" sibTransId="{DBFCBA33-D92C-4465-828D-84B644E7DAB2}"/>
    <dgm:cxn modelId="{7504AB7D-E158-45F9-BA0C-118AC9E71DA9}" type="presOf" srcId="{78651831-3217-465E-830E-193465AF3C52}" destId="{FA668119-9F26-404B-A5C8-9043DD8F9452}" srcOrd="0" destOrd="1" presId="urn:microsoft.com/office/officeart/2005/8/layout/hList1"/>
    <dgm:cxn modelId="{ECCE80D9-5F40-4347-B533-ABAD405F83AA}" type="presOf" srcId="{39A54694-A7A4-4D91-AD91-6D40EE7CC9AD}" destId="{4A46C2D3-19AC-4EB8-8377-111FE9101F0A}" srcOrd="0" destOrd="0" presId="urn:microsoft.com/office/officeart/2005/8/layout/hList1"/>
    <dgm:cxn modelId="{391FEBCD-DE39-422C-8DCD-AF2218082539}" type="presOf" srcId="{CFBD4EDD-42C7-48F6-8572-7FFD03844347}" destId="{D8AC1FD4-06E5-4DD9-9416-D2E194F3AA49}" srcOrd="0" destOrd="1" presId="urn:microsoft.com/office/officeart/2005/8/layout/hList1"/>
    <dgm:cxn modelId="{EBD82C19-1B38-47E3-9205-C58FABD7B04A}" type="presOf" srcId="{AF3C8AA4-D8F4-45D9-A511-FBDC770FFD8A}" destId="{FA668119-9F26-404B-A5C8-9043DD8F9452}" srcOrd="0" destOrd="2" presId="urn:microsoft.com/office/officeart/2005/8/layout/hList1"/>
    <dgm:cxn modelId="{7EFDD833-79DB-40D8-9116-0597127D9DA9}" srcId="{BD9754A7-853D-4932-AB5F-70AE3C82CF30}" destId="{62D8017F-EBFF-4C5A-BDA1-5A28F48F4A92}" srcOrd="0" destOrd="0" parTransId="{BBEAC262-7E74-4B1E-AE1E-BF1419989FE6}" sibTransId="{CBEE8315-03DE-4ECA-BA12-BC0B32BC54D3}"/>
    <dgm:cxn modelId="{08D1F5F3-5714-43AE-8C6E-C053193B830D}" srcId="{62D8017F-EBFF-4C5A-BDA1-5A28F48F4A92}" destId="{B82739EA-2ECF-477F-8397-FF6DF9100241}" srcOrd="3" destOrd="0" parTransId="{E726E777-54D9-4552-A24B-EA316C661472}" sibTransId="{E96DBED6-7F84-4392-9323-B6F60E98984F}"/>
    <dgm:cxn modelId="{C94A8212-A0A1-4877-9943-BCA249C10737}" srcId="{BD9754A7-853D-4932-AB5F-70AE3C82CF30}" destId="{0F2A1686-D830-4CA4-BCC7-40479ED9FAAF}" srcOrd="2" destOrd="0" parTransId="{440DA0BD-7871-4CB6-879F-3BD5ADB4CC83}" sibTransId="{900CFE65-1960-4FE8-BF4C-7A8989284385}"/>
    <dgm:cxn modelId="{9FB0F99B-DE1D-4613-97A3-C71731114381}" type="presOf" srcId="{27A0AF70-CE1D-49AC-8674-8C4BA2E52BA6}" destId="{D8AC1FD4-06E5-4DD9-9416-D2E194F3AA49}" srcOrd="0" destOrd="2" presId="urn:microsoft.com/office/officeart/2005/8/layout/hList1"/>
    <dgm:cxn modelId="{423B9A79-7A9A-4D88-B2B7-BE1C3E7049FC}" srcId="{39A54694-A7A4-4D91-AD91-6D40EE7CC9AD}" destId="{B84928D5-B641-4DC3-BFCF-5DC551C7E254}" srcOrd="2" destOrd="0" parTransId="{1D0CC067-E005-4793-BE04-5580A934861F}" sibTransId="{73478243-83CF-4DE3-BC4E-985B9A928BB6}"/>
    <dgm:cxn modelId="{AC10D59F-3671-4A23-9E3F-18A34EC03881}" srcId="{62D8017F-EBFF-4C5A-BDA1-5A28F48F4A92}" destId="{33C6113D-0AAB-46C8-A89E-7643E4529468}" srcOrd="4" destOrd="0" parTransId="{E54D3590-7788-43D3-9AE7-3A9A23971324}" sibTransId="{43332FBC-1601-47FC-A747-F0AC56E8B540}"/>
    <dgm:cxn modelId="{B8727213-B0DF-4154-915B-18B623A1B176}" srcId="{D1EE2876-8759-4C05-9302-A3C6ED388BA4}" destId="{1525797E-6CB6-4039-AFD9-D7FEF1372886}" srcOrd="0" destOrd="0" parTransId="{B9426D42-1241-42C3-AB46-97E6E45E127C}" sibTransId="{262B0148-C28F-4592-894E-92FD44BE8093}"/>
    <dgm:cxn modelId="{07635A03-3977-4D18-BA50-662C2FF0748D}" srcId="{0F2A1686-D830-4CA4-BCC7-40479ED9FAAF}" destId="{AF3C8AA4-D8F4-45D9-A511-FBDC770FFD8A}" srcOrd="2" destOrd="0" parTransId="{83052C6E-D31E-4E63-B29C-16537CED6877}" sibTransId="{5447AE35-F3C3-46BC-8B47-75BB76503D3C}"/>
    <dgm:cxn modelId="{19E3138B-77A1-4175-9BCD-C9AFCE87AF7A}" srcId="{39A54694-A7A4-4D91-AD91-6D40EE7CC9AD}" destId="{FE0A59DD-2E49-48C8-928D-694C206E810D}" srcOrd="3" destOrd="0" parTransId="{BB0DDCA0-7C97-471E-9D64-8FA96FEECA74}" sibTransId="{2AF39452-81EF-4DB6-9D81-021939F3EF24}"/>
    <dgm:cxn modelId="{D97093F6-64EF-465D-813A-A54C24CB8116}" type="presOf" srcId="{0F2A1686-D830-4CA4-BCC7-40479ED9FAAF}" destId="{882DC342-08F5-443A-A4E8-D25BC8E98BC4}" srcOrd="0" destOrd="0" presId="urn:microsoft.com/office/officeart/2005/8/layout/hList1"/>
    <dgm:cxn modelId="{B01DB2C1-C453-4FC9-BD55-187161E4541D}" srcId="{62D8017F-EBFF-4C5A-BDA1-5A28F48F4A92}" destId="{CFBD4EDD-42C7-48F6-8572-7FFD03844347}" srcOrd="1" destOrd="0" parTransId="{5E92AB9D-ECBF-4A14-8472-43DFC9D7D52C}" sibTransId="{4AC0201C-B79A-4FF1-83EB-7E0925394255}"/>
    <dgm:cxn modelId="{8826614E-B776-4456-B7A7-CDE79CEF0EFF}" type="presOf" srcId="{B906FE1C-7799-443F-9EB5-91E521A98A0D}" destId="{FA668119-9F26-404B-A5C8-9043DD8F9452}" srcOrd="0" destOrd="3" presId="urn:microsoft.com/office/officeart/2005/8/layout/hList1"/>
    <dgm:cxn modelId="{71028457-822F-4009-9AFF-A6D53BACA457}" type="presOf" srcId="{BD9754A7-853D-4932-AB5F-70AE3C82CF30}" destId="{9D80F74C-5B6E-4277-9200-B1CD0EAD792B}" srcOrd="0" destOrd="0" presId="urn:microsoft.com/office/officeart/2005/8/layout/hList1"/>
    <dgm:cxn modelId="{6741CC09-5B73-429F-BBBE-4CB51652B7BD}" srcId="{D1EE2876-8759-4C05-9302-A3C6ED388BA4}" destId="{41A22629-61F4-4385-9DC0-5497E1C26457}" srcOrd="1" destOrd="0" parTransId="{F53D2AE9-A85C-4E9C-847F-31E5A1E87670}" sibTransId="{C26354A0-516E-4156-B39E-3530C1BA2F1C}"/>
    <dgm:cxn modelId="{2BE77E62-AAFA-4FEC-B221-3BA50EBE2865}" type="presOf" srcId="{C2BE3127-D78B-4D46-A4F0-4ADA2D0BA163}" destId="{FA668119-9F26-404B-A5C8-9043DD8F9452}" srcOrd="0" destOrd="0" presId="urn:microsoft.com/office/officeart/2005/8/layout/hList1"/>
    <dgm:cxn modelId="{759EE71F-EA1A-42E4-9E37-AD313AFC24F9}" srcId="{0F2A1686-D830-4CA4-BCC7-40479ED9FAAF}" destId="{78651831-3217-465E-830E-193465AF3C52}" srcOrd="1" destOrd="0" parTransId="{F017E4B1-2700-45E0-A939-8FED8D4CB6EF}" sibTransId="{BA1794D8-5CA8-40D2-BB0C-CE272AB7AF7B}"/>
    <dgm:cxn modelId="{5D6FBB33-F525-4245-8384-2C7D5643CF46}" srcId="{BD9754A7-853D-4932-AB5F-70AE3C82CF30}" destId="{39A54694-A7A4-4D91-AD91-6D40EE7CC9AD}" srcOrd="1" destOrd="0" parTransId="{81C62A9D-2882-4513-B040-6673EAB127EB}" sibTransId="{D0CC94BB-CE2C-40BA-8AD6-63C0C798D488}"/>
    <dgm:cxn modelId="{F852DC61-798B-4A76-9E01-2787D5930296}" type="presOf" srcId="{249109D8-C838-483A-A7AE-E6E24CD575D7}" destId="{1913642A-BFC5-4871-BF0A-69D261FB5F98}" srcOrd="0" destOrd="0" presId="urn:microsoft.com/office/officeart/2005/8/layout/hList1"/>
    <dgm:cxn modelId="{43B126AE-066A-47E4-A817-A3ABBC07497B}" type="presOf" srcId="{B84928D5-B641-4DC3-BFCF-5DC551C7E254}" destId="{1913642A-BFC5-4871-BF0A-69D261FB5F98}" srcOrd="0" destOrd="2" presId="urn:microsoft.com/office/officeart/2005/8/layout/hList1"/>
    <dgm:cxn modelId="{AA92A915-D8D0-4095-BC7C-0D1AC86ACD8D}" type="presOf" srcId="{B82739EA-2ECF-477F-8397-FF6DF9100241}" destId="{D8AC1FD4-06E5-4DD9-9416-D2E194F3AA49}" srcOrd="0" destOrd="3" presId="urn:microsoft.com/office/officeart/2005/8/layout/hList1"/>
    <dgm:cxn modelId="{AC6BA41A-0B81-4109-B447-3EFD41840B00}" srcId="{39A54694-A7A4-4D91-AD91-6D40EE7CC9AD}" destId="{CC86C9B1-8662-4BFC-96E3-CE50AE1245B1}" srcOrd="1" destOrd="0" parTransId="{21A5F60A-B46D-4BE9-90E4-6039894D17E4}" sibTransId="{1C86EFEF-A56E-4CD9-B552-EF1A2664DDAA}"/>
    <dgm:cxn modelId="{CF811379-9BB0-44C4-9C05-8A508B09F789}" srcId="{62D8017F-EBFF-4C5A-BDA1-5A28F48F4A92}" destId="{346603E1-80A9-4204-B3DC-0B97CF8A95EF}" srcOrd="0" destOrd="0" parTransId="{CD3D8146-08A2-4315-87E9-53C5C2904CA7}" sibTransId="{1F5017C4-627F-4C12-9835-45187F853660}"/>
    <dgm:cxn modelId="{62F1F31A-0E03-4A14-BD55-EEE47CC4F41A}" type="presOf" srcId="{1525797E-6CB6-4039-AFD9-D7FEF1372886}" destId="{D6AFEF8D-BB4F-4598-A62A-26BE28601955}" srcOrd="0" destOrd="0" presId="urn:microsoft.com/office/officeart/2005/8/layout/hList1"/>
    <dgm:cxn modelId="{40897EAB-287F-4BB3-9BDE-044CECAC9E3B}" srcId="{62D8017F-EBFF-4C5A-BDA1-5A28F48F4A92}" destId="{27A0AF70-CE1D-49AC-8674-8C4BA2E52BA6}" srcOrd="2" destOrd="0" parTransId="{B37D7BC8-1209-4046-B7EA-9CF9BEF797A1}" sibTransId="{95E72E93-4E78-4E63-B6B0-F423B6BCBA0C}"/>
    <dgm:cxn modelId="{DD54EA02-B7A5-43B3-B688-4CE7EEFABB19}" srcId="{0F2A1686-D830-4CA4-BCC7-40479ED9FAAF}" destId="{B906FE1C-7799-443F-9EB5-91E521A98A0D}" srcOrd="3" destOrd="0" parTransId="{8A7D80B4-CC62-42B9-BEE6-0E2F1F689F61}" sibTransId="{A66BA4B7-8F0E-4751-8364-2623F64F4BDD}"/>
    <dgm:cxn modelId="{51BDF2DF-C7A1-4178-B300-97912786A77E}" srcId="{0F2A1686-D830-4CA4-BCC7-40479ED9FAAF}" destId="{C2BE3127-D78B-4D46-A4F0-4ADA2D0BA163}" srcOrd="0" destOrd="0" parTransId="{F37630A1-B0F3-4874-9B69-B94D2192AEDD}" sibTransId="{B21E641A-DFFC-4324-87B0-2016949A09BB}"/>
    <dgm:cxn modelId="{DC0B4089-44DA-43D7-9458-8AAA61B6EEDA}" type="presOf" srcId="{33C6113D-0AAB-46C8-A89E-7643E4529468}" destId="{D8AC1FD4-06E5-4DD9-9416-D2E194F3AA49}" srcOrd="0" destOrd="4" presId="urn:microsoft.com/office/officeart/2005/8/layout/hList1"/>
    <dgm:cxn modelId="{8751B953-0D61-4C3B-9C36-860013B63976}" type="presOf" srcId="{CC86C9B1-8662-4BFC-96E3-CE50AE1245B1}" destId="{1913642A-BFC5-4871-BF0A-69D261FB5F98}" srcOrd="0" destOrd="1" presId="urn:microsoft.com/office/officeart/2005/8/layout/hList1"/>
    <dgm:cxn modelId="{5F3DA4AD-0423-48B0-AC89-3846A83EB0BE}" type="presOf" srcId="{D1EE2876-8759-4C05-9302-A3C6ED388BA4}" destId="{B527A297-1585-48FE-82A4-A10D59D17255}" srcOrd="0" destOrd="0" presId="urn:microsoft.com/office/officeart/2005/8/layout/hList1"/>
    <dgm:cxn modelId="{D1BBF4FC-C607-4C53-B5AB-75B7E2B81472}" type="presOf" srcId="{346603E1-80A9-4204-B3DC-0B97CF8A95EF}" destId="{D8AC1FD4-06E5-4DD9-9416-D2E194F3AA49}" srcOrd="0" destOrd="0" presId="urn:microsoft.com/office/officeart/2005/8/layout/hList1"/>
    <dgm:cxn modelId="{04C359B5-9A2B-4EBA-BF58-679DC1FEE557}" type="presOf" srcId="{62D8017F-EBFF-4C5A-BDA1-5A28F48F4A92}" destId="{5A04E253-2ACA-4D17-B7B3-FB01CE5C18D8}" srcOrd="0" destOrd="0" presId="urn:microsoft.com/office/officeart/2005/8/layout/hList1"/>
    <dgm:cxn modelId="{908A3E45-66BC-42E5-99A0-BB98C1C51716}" type="presOf" srcId="{41A22629-61F4-4385-9DC0-5497E1C26457}" destId="{D6AFEF8D-BB4F-4598-A62A-26BE28601955}" srcOrd="0" destOrd="1" presId="urn:microsoft.com/office/officeart/2005/8/layout/hList1"/>
    <dgm:cxn modelId="{F9DB7B36-F2C1-4015-B545-AE06BF230E11}" type="presParOf" srcId="{9D80F74C-5B6E-4277-9200-B1CD0EAD792B}" destId="{EC0B6BD6-9790-4D30-B329-9C6F6DCE44A4}" srcOrd="0" destOrd="0" presId="urn:microsoft.com/office/officeart/2005/8/layout/hList1"/>
    <dgm:cxn modelId="{47D702B3-1FA2-49BF-8161-F7BDBAFCC2A3}" type="presParOf" srcId="{EC0B6BD6-9790-4D30-B329-9C6F6DCE44A4}" destId="{5A04E253-2ACA-4D17-B7B3-FB01CE5C18D8}" srcOrd="0" destOrd="0" presId="urn:microsoft.com/office/officeart/2005/8/layout/hList1"/>
    <dgm:cxn modelId="{095B1C7C-43BA-4438-BE49-2CD822C7F1BA}" type="presParOf" srcId="{EC0B6BD6-9790-4D30-B329-9C6F6DCE44A4}" destId="{D8AC1FD4-06E5-4DD9-9416-D2E194F3AA49}" srcOrd="1" destOrd="0" presId="urn:microsoft.com/office/officeart/2005/8/layout/hList1"/>
    <dgm:cxn modelId="{977B6380-B806-4D72-A65F-892873D2F26D}" type="presParOf" srcId="{9D80F74C-5B6E-4277-9200-B1CD0EAD792B}" destId="{221DB333-E6FB-4079-8EC0-DE4EB5B94498}" srcOrd="1" destOrd="0" presId="urn:microsoft.com/office/officeart/2005/8/layout/hList1"/>
    <dgm:cxn modelId="{FEB37F3C-DDB2-42FE-926B-D8836DD25551}" type="presParOf" srcId="{9D80F74C-5B6E-4277-9200-B1CD0EAD792B}" destId="{57F5494E-AD5F-4848-81FB-8C535E1F8D78}" srcOrd="2" destOrd="0" presId="urn:microsoft.com/office/officeart/2005/8/layout/hList1"/>
    <dgm:cxn modelId="{F8A11BB2-E31F-44E8-8151-A8BC006E4994}" type="presParOf" srcId="{57F5494E-AD5F-4848-81FB-8C535E1F8D78}" destId="{4A46C2D3-19AC-4EB8-8377-111FE9101F0A}" srcOrd="0" destOrd="0" presId="urn:microsoft.com/office/officeart/2005/8/layout/hList1"/>
    <dgm:cxn modelId="{5EE6EC56-B6BC-4EFA-8D4B-B3B8CB9CBA98}" type="presParOf" srcId="{57F5494E-AD5F-4848-81FB-8C535E1F8D78}" destId="{1913642A-BFC5-4871-BF0A-69D261FB5F98}" srcOrd="1" destOrd="0" presId="urn:microsoft.com/office/officeart/2005/8/layout/hList1"/>
    <dgm:cxn modelId="{F3D0F2E3-7E6C-49B5-BF5E-6A3CF4C1CD86}" type="presParOf" srcId="{9D80F74C-5B6E-4277-9200-B1CD0EAD792B}" destId="{55803010-89B1-4E9E-8746-BC7A784CF287}" srcOrd="3" destOrd="0" presId="urn:microsoft.com/office/officeart/2005/8/layout/hList1"/>
    <dgm:cxn modelId="{4A354C43-023A-404B-BFC2-CAC85953E1AC}" type="presParOf" srcId="{9D80F74C-5B6E-4277-9200-B1CD0EAD792B}" destId="{EC3AE997-63C4-47F5-9D02-DF94DA596F42}" srcOrd="4" destOrd="0" presId="urn:microsoft.com/office/officeart/2005/8/layout/hList1"/>
    <dgm:cxn modelId="{ADF9C08B-213F-4E3A-9FC7-64F337D0A8FE}" type="presParOf" srcId="{EC3AE997-63C4-47F5-9D02-DF94DA596F42}" destId="{882DC342-08F5-443A-A4E8-D25BC8E98BC4}" srcOrd="0" destOrd="0" presId="urn:microsoft.com/office/officeart/2005/8/layout/hList1"/>
    <dgm:cxn modelId="{B388E6BF-6454-460B-8AAA-4ADA502456B9}" type="presParOf" srcId="{EC3AE997-63C4-47F5-9D02-DF94DA596F42}" destId="{FA668119-9F26-404B-A5C8-9043DD8F9452}" srcOrd="1" destOrd="0" presId="urn:microsoft.com/office/officeart/2005/8/layout/hList1"/>
    <dgm:cxn modelId="{F673F6B9-BDE5-4C14-AB3B-259585BAF04B}" type="presParOf" srcId="{9D80F74C-5B6E-4277-9200-B1CD0EAD792B}" destId="{6BC07E33-2833-48E4-9B04-D98C420B1328}" srcOrd="5" destOrd="0" presId="urn:microsoft.com/office/officeart/2005/8/layout/hList1"/>
    <dgm:cxn modelId="{48FD6973-0EF4-48CA-81C3-4E4B4E9793DA}" type="presParOf" srcId="{9D80F74C-5B6E-4277-9200-B1CD0EAD792B}" destId="{9EFD8DD9-2024-4952-AF5A-89A1519443BD}" srcOrd="6" destOrd="0" presId="urn:microsoft.com/office/officeart/2005/8/layout/hList1"/>
    <dgm:cxn modelId="{F642D279-0EAB-4DA1-B2D1-281C46FC6E19}" type="presParOf" srcId="{9EFD8DD9-2024-4952-AF5A-89A1519443BD}" destId="{B527A297-1585-48FE-82A4-A10D59D17255}" srcOrd="0" destOrd="0" presId="urn:microsoft.com/office/officeart/2005/8/layout/hList1"/>
    <dgm:cxn modelId="{18CA64B0-63DF-4996-BE28-524F436608B0}" type="presParOf" srcId="{9EFD8DD9-2024-4952-AF5A-89A1519443BD}" destId="{D6AFEF8D-BB4F-4598-A62A-26BE2860195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0785F1D-1872-46CE-AF6B-7EF1AABDAAEB}" type="doc">
      <dgm:prSet loTypeId="urn:microsoft.com/office/officeart/2005/8/layout/h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5CC6F61B-AE15-420A-8666-32BB86543681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Consumer</a:t>
          </a:r>
          <a:endParaRPr lang="en-US" sz="2800" dirty="0">
            <a:solidFill>
              <a:schemeClr val="tx2"/>
            </a:solidFill>
          </a:endParaRPr>
        </a:p>
      </dgm:t>
    </dgm:pt>
    <dgm:pt modelId="{D9BED957-CA73-466A-8DC6-881FDEFBDBF7}" type="parTrans" cxnId="{00D59A20-FFCE-494B-A4F4-D750AD879D45}">
      <dgm:prSet/>
      <dgm:spPr/>
      <dgm:t>
        <a:bodyPr/>
        <a:lstStyle/>
        <a:p>
          <a:endParaRPr lang="en-US"/>
        </a:p>
      </dgm:t>
    </dgm:pt>
    <dgm:pt modelId="{53F97C6A-063F-4438-8001-4554A4AC53EC}" type="sibTrans" cxnId="{00D59A20-FFCE-494B-A4F4-D750AD879D45}">
      <dgm:prSet/>
      <dgm:spPr/>
      <dgm:t>
        <a:bodyPr/>
        <a:lstStyle/>
        <a:p>
          <a:endParaRPr lang="en-US"/>
        </a:p>
      </dgm:t>
    </dgm:pt>
    <dgm:pt modelId="{97CEC09F-717E-4747-BED0-9CBD1F5A6D42}">
      <dgm:prSet phldrT="[Text]"/>
      <dgm:spPr/>
      <dgm:t>
        <a:bodyPr/>
        <a:lstStyle/>
        <a:p>
          <a:r>
            <a:rPr lang="en-US" dirty="0" smtClean="0"/>
            <a:t>Ubiquitous computing</a:t>
          </a:r>
          <a:endParaRPr lang="en-US" dirty="0"/>
        </a:p>
      </dgm:t>
    </dgm:pt>
    <dgm:pt modelId="{EB8D1E1A-E79D-421B-A617-41C8EB43A310}" type="parTrans" cxnId="{E184C143-9A71-4F38-BCA9-43FC0EA90BC2}">
      <dgm:prSet/>
      <dgm:spPr/>
      <dgm:t>
        <a:bodyPr/>
        <a:lstStyle/>
        <a:p>
          <a:endParaRPr lang="en-US"/>
        </a:p>
      </dgm:t>
    </dgm:pt>
    <dgm:pt modelId="{612F0762-E918-4D58-AB51-E0134FD5C3E3}" type="sibTrans" cxnId="{E184C143-9A71-4F38-BCA9-43FC0EA90BC2}">
      <dgm:prSet/>
      <dgm:spPr/>
      <dgm:t>
        <a:bodyPr/>
        <a:lstStyle/>
        <a:p>
          <a:endParaRPr lang="en-US"/>
        </a:p>
      </dgm:t>
    </dgm:pt>
    <dgm:pt modelId="{292347EB-4AB2-48A5-873D-84BEA6F3032D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Enterprise</a:t>
          </a:r>
          <a:endParaRPr lang="en-US" sz="2800" dirty="0">
            <a:solidFill>
              <a:schemeClr val="tx2"/>
            </a:solidFill>
          </a:endParaRPr>
        </a:p>
      </dgm:t>
    </dgm:pt>
    <dgm:pt modelId="{7AA41EDB-B128-41C6-9712-BBE7E3262F2B}" type="parTrans" cxnId="{0E186D43-981D-4226-AFA0-60F873BA57D8}">
      <dgm:prSet/>
      <dgm:spPr/>
      <dgm:t>
        <a:bodyPr/>
        <a:lstStyle/>
        <a:p>
          <a:endParaRPr lang="en-US"/>
        </a:p>
      </dgm:t>
    </dgm:pt>
    <dgm:pt modelId="{BDD4C7AA-7A07-420C-AE16-5BCE370D382F}" type="sibTrans" cxnId="{0E186D43-981D-4226-AFA0-60F873BA57D8}">
      <dgm:prSet/>
      <dgm:spPr/>
      <dgm:t>
        <a:bodyPr/>
        <a:lstStyle/>
        <a:p>
          <a:endParaRPr lang="en-US"/>
        </a:p>
      </dgm:t>
    </dgm:pt>
    <dgm:pt modelId="{2DC3C5CD-771E-42DE-8243-659C02638BFE}">
      <dgm:prSet phldrT="[Text]"/>
      <dgm:spPr/>
      <dgm:t>
        <a:bodyPr/>
        <a:lstStyle/>
        <a:p>
          <a:r>
            <a:rPr lang="en-US" dirty="0" smtClean="0"/>
            <a:t>Mobility</a:t>
          </a:r>
          <a:endParaRPr lang="en-US" dirty="0"/>
        </a:p>
      </dgm:t>
    </dgm:pt>
    <dgm:pt modelId="{55123B0D-F224-401D-AE0D-A2E4A49AEADB}" type="parTrans" cxnId="{2CE4FDA0-9F02-49CC-94CF-98CB3DB16A82}">
      <dgm:prSet/>
      <dgm:spPr/>
      <dgm:t>
        <a:bodyPr/>
        <a:lstStyle/>
        <a:p>
          <a:endParaRPr lang="en-US"/>
        </a:p>
      </dgm:t>
    </dgm:pt>
    <dgm:pt modelId="{259024B8-BDA1-4B4D-8E30-14B327ACEE26}" type="sibTrans" cxnId="{2CE4FDA0-9F02-49CC-94CF-98CB3DB16A82}">
      <dgm:prSet/>
      <dgm:spPr/>
      <dgm:t>
        <a:bodyPr/>
        <a:lstStyle/>
        <a:p>
          <a:endParaRPr lang="en-US"/>
        </a:p>
      </dgm:t>
    </dgm:pt>
    <dgm:pt modelId="{E4D0EAD7-86E0-4B57-AABA-E0EC7E230B8C}">
      <dgm:prSet/>
      <dgm:spPr/>
      <dgm:t>
        <a:bodyPr/>
        <a:lstStyle/>
        <a:p>
          <a:r>
            <a:rPr lang="en-US" dirty="0" smtClean="0"/>
            <a:t>Always On connectivity</a:t>
          </a:r>
          <a:endParaRPr lang="en-US" dirty="0"/>
        </a:p>
      </dgm:t>
    </dgm:pt>
    <dgm:pt modelId="{AA034D4F-1A68-4AD1-AD2C-420F0306DD42}" type="parTrans" cxnId="{9EFFEA35-D273-48DC-8638-5BD57D60BF7E}">
      <dgm:prSet/>
      <dgm:spPr/>
      <dgm:t>
        <a:bodyPr/>
        <a:lstStyle/>
        <a:p>
          <a:endParaRPr lang="en-US"/>
        </a:p>
      </dgm:t>
    </dgm:pt>
    <dgm:pt modelId="{EAAF50CC-EE03-4511-8B2B-A33B6CE17404}" type="sibTrans" cxnId="{9EFFEA35-D273-48DC-8638-5BD57D60BF7E}">
      <dgm:prSet/>
      <dgm:spPr/>
      <dgm:t>
        <a:bodyPr/>
        <a:lstStyle/>
        <a:p>
          <a:endParaRPr lang="en-US"/>
        </a:p>
      </dgm:t>
    </dgm:pt>
    <dgm:pt modelId="{079F11DA-C2B9-4DFD-8B46-9848632D0208}">
      <dgm:prSet/>
      <dgm:spPr/>
      <dgm:t>
        <a:bodyPr/>
        <a:lstStyle/>
        <a:p>
          <a:r>
            <a:rPr lang="en-US" dirty="0" smtClean="0"/>
            <a:t>Anywhere Anytime mobility</a:t>
          </a:r>
          <a:endParaRPr lang="en-US" dirty="0"/>
        </a:p>
      </dgm:t>
    </dgm:pt>
    <dgm:pt modelId="{2A5C6471-FE08-4F90-B168-CBF546267B2C}" type="parTrans" cxnId="{F6A30367-1C9A-4F10-8C3F-E87572F984B0}">
      <dgm:prSet/>
      <dgm:spPr/>
      <dgm:t>
        <a:bodyPr/>
        <a:lstStyle/>
        <a:p>
          <a:endParaRPr lang="en-US"/>
        </a:p>
      </dgm:t>
    </dgm:pt>
    <dgm:pt modelId="{25660416-9469-4E90-A11C-EE1C4628E139}" type="sibTrans" cxnId="{F6A30367-1C9A-4F10-8C3F-E87572F984B0}">
      <dgm:prSet/>
      <dgm:spPr/>
      <dgm:t>
        <a:bodyPr/>
        <a:lstStyle/>
        <a:p>
          <a:endParaRPr lang="en-US"/>
        </a:p>
      </dgm:t>
    </dgm:pt>
    <dgm:pt modelId="{6CBAE8F4-3ACD-4A0B-B9D9-257BD76570C8}">
      <dgm:prSet/>
      <dgm:spPr/>
      <dgm:t>
        <a:bodyPr/>
        <a:lstStyle/>
        <a:p>
          <a:r>
            <a:rPr lang="en-US" smtClean="0"/>
            <a:t>Increasing IT Complexity</a:t>
          </a:r>
          <a:endParaRPr lang="en-US"/>
        </a:p>
      </dgm:t>
    </dgm:pt>
    <dgm:pt modelId="{258B9463-F8FE-4B60-90EC-812A7E8AE2D4}" type="parTrans" cxnId="{5FE62C65-836A-4DD9-A9AE-2A12F922A35A}">
      <dgm:prSet/>
      <dgm:spPr/>
      <dgm:t>
        <a:bodyPr/>
        <a:lstStyle/>
        <a:p>
          <a:endParaRPr lang="en-US"/>
        </a:p>
      </dgm:t>
    </dgm:pt>
    <dgm:pt modelId="{FCF69565-2E24-4426-BABB-FE801D6D89B4}" type="sibTrans" cxnId="{5FE62C65-836A-4DD9-A9AE-2A12F922A35A}">
      <dgm:prSet/>
      <dgm:spPr/>
      <dgm:t>
        <a:bodyPr/>
        <a:lstStyle/>
        <a:p>
          <a:endParaRPr lang="en-US"/>
        </a:p>
      </dgm:t>
    </dgm:pt>
    <dgm:pt modelId="{0606A98C-928B-47E1-9FC0-E21D9C1C77B3}">
      <dgm:prSet/>
      <dgm:spPr/>
      <dgm:t>
        <a:bodyPr/>
        <a:lstStyle/>
        <a:p>
          <a:r>
            <a:rPr lang="en-US" smtClean="0"/>
            <a:t>Cloud Computing</a:t>
          </a:r>
          <a:endParaRPr lang="en-US"/>
        </a:p>
      </dgm:t>
    </dgm:pt>
    <dgm:pt modelId="{0F45AA1D-C28B-435C-AB71-22E62F85B536}" type="parTrans" cxnId="{048FE694-DDD7-4D78-9388-8855C4D4B873}">
      <dgm:prSet/>
      <dgm:spPr/>
      <dgm:t>
        <a:bodyPr/>
        <a:lstStyle/>
        <a:p>
          <a:endParaRPr lang="en-US"/>
        </a:p>
      </dgm:t>
    </dgm:pt>
    <dgm:pt modelId="{724FEC2F-101B-4C50-A489-6CF79D033A49}" type="sibTrans" cxnId="{048FE694-DDD7-4D78-9388-8855C4D4B873}">
      <dgm:prSet/>
      <dgm:spPr/>
      <dgm:t>
        <a:bodyPr/>
        <a:lstStyle/>
        <a:p>
          <a:endParaRPr lang="en-US"/>
        </a:p>
      </dgm:t>
    </dgm:pt>
    <dgm:pt modelId="{394B6C9B-55CC-407C-AAD0-22EAB11D0A69}">
      <dgm:prSet/>
      <dgm:spPr/>
      <dgm:t>
        <a:bodyPr/>
        <a:lstStyle/>
        <a:p>
          <a:r>
            <a:rPr lang="en-US" dirty="0" smtClean="0"/>
            <a:t>Large Data Analytics</a:t>
          </a:r>
          <a:endParaRPr lang="en-US" dirty="0"/>
        </a:p>
      </dgm:t>
    </dgm:pt>
    <dgm:pt modelId="{91C2B325-C127-4208-B5C6-E06A3A469BC8}" type="parTrans" cxnId="{9F21DF55-6895-477D-B735-AE512DDFB0F2}">
      <dgm:prSet/>
      <dgm:spPr/>
      <dgm:t>
        <a:bodyPr/>
        <a:lstStyle/>
        <a:p>
          <a:endParaRPr lang="en-US"/>
        </a:p>
      </dgm:t>
    </dgm:pt>
    <dgm:pt modelId="{24DBBA75-303F-41C1-802A-851B960E2D8D}" type="sibTrans" cxnId="{9F21DF55-6895-477D-B735-AE512DDFB0F2}">
      <dgm:prSet/>
      <dgm:spPr/>
      <dgm:t>
        <a:bodyPr/>
        <a:lstStyle/>
        <a:p>
          <a:endParaRPr lang="en-US"/>
        </a:p>
      </dgm:t>
    </dgm:pt>
    <dgm:pt modelId="{76C5EDEE-0C54-4093-9110-65706FDABBC4}" type="pres">
      <dgm:prSet presAssocID="{E0785F1D-1872-46CE-AF6B-7EF1AABDAAE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C5A0260-4680-4CEB-8CE7-91C7376A7FBA}" type="pres">
      <dgm:prSet presAssocID="{5CC6F61B-AE15-420A-8666-32BB86543681}" presName="composite" presStyleCnt="0"/>
      <dgm:spPr/>
    </dgm:pt>
    <dgm:pt modelId="{25BAC45F-921A-4C84-9B32-DE38CA2EDF5D}" type="pres">
      <dgm:prSet presAssocID="{5CC6F61B-AE15-420A-8666-32BB8654368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6BCE2B-C672-4007-B3BF-7AED45076D7D}" type="pres">
      <dgm:prSet presAssocID="{5CC6F61B-AE15-420A-8666-32BB86543681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02C7C4-AE26-4116-8324-82A224839DBD}" type="pres">
      <dgm:prSet presAssocID="{53F97C6A-063F-4438-8001-4554A4AC53EC}" presName="space" presStyleCnt="0"/>
      <dgm:spPr/>
    </dgm:pt>
    <dgm:pt modelId="{DB4295B6-0576-48AD-8A20-AEE4ACE04B45}" type="pres">
      <dgm:prSet presAssocID="{292347EB-4AB2-48A5-873D-84BEA6F3032D}" presName="composite" presStyleCnt="0"/>
      <dgm:spPr/>
    </dgm:pt>
    <dgm:pt modelId="{87019672-5779-403A-8843-6A3CDF5EDC11}" type="pres">
      <dgm:prSet presAssocID="{292347EB-4AB2-48A5-873D-84BEA6F3032D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C18ECF-4BF9-4E52-8331-3490D9D14114}" type="pres">
      <dgm:prSet presAssocID="{292347EB-4AB2-48A5-873D-84BEA6F3032D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84C143-9A71-4F38-BCA9-43FC0EA90BC2}" srcId="{5CC6F61B-AE15-420A-8666-32BB86543681}" destId="{97CEC09F-717E-4747-BED0-9CBD1F5A6D42}" srcOrd="0" destOrd="0" parTransId="{EB8D1E1A-E79D-421B-A617-41C8EB43A310}" sibTransId="{612F0762-E918-4D58-AB51-E0134FD5C3E3}"/>
    <dgm:cxn modelId="{5FE62C65-836A-4DD9-A9AE-2A12F922A35A}" srcId="{292347EB-4AB2-48A5-873D-84BEA6F3032D}" destId="{6CBAE8F4-3ACD-4A0B-B9D9-257BD76570C8}" srcOrd="1" destOrd="0" parTransId="{258B9463-F8FE-4B60-90EC-812A7E8AE2D4}" sibTransId="{FCF69565-2E24-4426-BABB-FE801D6D89B4}"/>
    <dgm:cxn modelId="{9F21DF55-6895-477D-B735-AE512DDFB0F2}" srcId="{292347EB-4AB2-48A5-873D-84BEA6F3032D}" destId="{394B6C9B-55CC-407C-AAD0-22EAB11D0A69}" srcOrd="3" destOrd="0" parTransId="{91C2B325-C127-4208-B5C6-E06A3A469BC8}" sibTransId="{24DBBA75-303F-41C1-802A-851B960E2D8D}"/>
    <dgm:cxn modelId="{0E186D43-981D-4226-AFA0-60F873BA57D8}" srcId="{E0785F1D-1872-46CE-AF6B-7EF1AABDAAEB}" destId="{292347EB-4AB2-48A5-873D-84BEA6F3032D}" srcOrd="1" destOrd="0" parTransId="{7AA41EDB-B128-41C6-9712-BBE7E3262F2B}" sibTransId="{BDD4C7AA-7A07-420C-AE16-5BCE370D382F}"/>
    <dgm:cxn modelId="{FE2D57E6-2AC5-491E-BDF4-18F1159AFEC0}" type="presOf" srcId="{E0785F1D-1872-46CE-AF6B-7EF1AABDAAEB}" destId="{76C5EDEE-0C54-4093-9110-65706FDABBC4}" srcOrd="0" destOrd="0" presId="urn:microsoft.com/office/officeart/2005/8/layout/hList1"/>
    <dgm:cxn modelId="{3636E453-C0D8-45B6-AD72-0F534F88FCA6}" type="presOf" srcId="{0606A98C-928B-47E1-9FC0-E21D9C1C77B3}" destId="{93C18ECF-4BF9-4E52-8331-3490D9D14114}" srcOrd="0" destOrd="2" presId="urn:microsoft.com/office/officeart/2005/8/layout/hList1"/>
    <dgm:cxn modelId="{048FE694-DDD7-4D78-9388-8855C4D4B873}" srcId="{292347EB-4AB2-48A5-873D-84BEA6F3032D}" destId="{0606A98C-928B-47E1-9FC0-E21D9C1C77B3}" srcOrd="2" destOrd="0" parTransId="{0F45AA1D-C28B-435C-AB71-22E62F85B536}" sibTransId="{724FEC2F-101B-4C50-A489-6CF79D033A49}"/>
    <dgm:cxn modelId="{4915D5D4-DC3E-4EF8-A520-5C70EE740A53}" type="presOf" srcId="{E4D0EAD7-86E0-4B57-AABA-E0EC7E230B8C}" destId="{396BCE2B-C672-4007-B3BF-7AED45076D7D}" srcOrd="0" destOrd="1" presId="urn:microsoft.com/office/officeart/2005/8/layout/hList1"/>
    <dgm:cxn modelId="{00D59A20-FFCE-494B-A4F4-D750AD879D45}" srcId="{E0785F1D-1872-46CE-AF6B-7EF1AABDAAEB}" destId="{5CC6F61B-AE15-420A-8666-32BB86543681}" srcOrd="0" destOrd="0" parTransId="{D9BED957-CA73-466A-8DC6-881FDEFBDBF7}" sibTransId="{53F97C6A-063F-4438-8001-4554A4AC53EC}"/>
    <dgm:cxn modelId="{F6A30367-1C9A-4F10-8C3F-E87572F984B0}" srcId="{5CC6F61B-AE15-420A-8666-32BB86543681}" destId="{079F11DA-C2B9-4DFD-8B46-9848632D0208}" srcOrd="2" destOrd="0" parTransId="{2A5C6471-FE08-4F90-B168-CBF546267B2C}" sibTransId="{25660416-9469-4E90-A11C-EE1C4628E139}"/>
    <dgm:cxn modelId="{9EFFEA35-D273-48DC-8638-5BD57D60BF7E}" srcId="{5CC6F61B-AE15-420A-8666-32BB86543681}" destId="{E4D0EAD7-86E0-4B57-AABA-E0EC7E230B8C}" srcOrd="1" destOrd="0" parTransId="{AA034D4F-1A68-4AD1-AD2C-420F0306DD42}" sibTransId="{EAAF50CC-EE03-4511-8B2B-A33B6CE17404}"/>
    <dgm:cxn modelId="{CD438E35-DC10-4432-877C-D5B338F6DFB9}" type="presOf" srcId="{5CC6F61B-AE15-420A-8666-32BB86543681}" destId="{25BAC45F-921A-4C84-9B32-DE38CA2EDF5D}" srcOrd="0" destOrd="0" presId="urn:microsoft.com/office/officeart/2005/8/layout/hList1"/>
    <dgm:cxn modelId="{0036FA0E-F818-4BFB-8FAD-4F26554B3552}" type="presOf" srcId="{97CEC09F-717E-4747-BED0-9CBD1F5A6D42}" destId="{396BCE2B-C672-4007-B3BF-7AED45076D7D}" srcOrd="0" destOrd="0" presId="urn:microsoft.com/office/officeart/2005/8/layout/hList1"/>
    <dgm:cxn modelId="{643333D6-8EF5-4F2C-8230-9335ABCB6B4C}" type="presOf" srcId="{6CBAE8F4-3ACD-4A0B-B9D9-257BD76570C8}" destId="{93C18ECF-4BF9-4E52-8331-3490D9D14114}" srcOrd="0" destOrd="1" presId="urn:microsoft.com/office/officeart/2005/8/layout/hList1"/>
    <dgm:cxn modelId="{C3BA2CCE-11E7-49B1-BB8D-305A6817AC06}" type="presOf" srcId="{394B6C9B-55CC-407C-AAD0-22EAB11D0A69}" destId="{93C18ECF-4BF9-4E52-8331-3490D9D14114}" srcOrd="0" destOrd="3" presId="urn:microsoft.com/office/officeart/2005/8/layout/hList1"/>
    <dgm:cxn modelId="{048BB5AF-D320-4667-901C-7DA95E3B07AB}" type="presOf" srcId="{292347EB-4AB2-48A5-873D-84BEA6F3032D}" destId="{87019672-5779-403A-8843-6A3CDF5EDC11}" srcOrd="0" destOrd="0" presId="urn:microsoft.com/office/officeart/2005/8/layout/hList1"/>
    <dgm:cxn modelId="{A10ECFB4-833A-4383-B111-A0B453D71ED0}" type="presOf" srcId="{079F11DA-C2B9-4DFD-8B46-9848632D0208}" destId="{396BCE2B-C672-4007-B3BF-7AED45076D7D}" srcOrd="0" destOrd="2" presId="urn:microsoft.com/office/officeart/2005/8/layout/hList1"/>
    <dgm:cxn modelId="{99B9F13E-9BD9-4D73-A251-2C1C247B879E}" type="presOf" srcId="{2DC3C5CD-771E-42DE-8243-659C02638BFE}" destId="{93C18ECF-4BF9-4E52-8331-3490D9D14114}" srcOrd="0" destOrd="0" presId="urn:microsoft.com/office/officeart/2005/8/layout/hList1"/>
    <dgm:cxn modelId="{2CE4FDA0-9F02-49CC-94CF-98CB3DB16A82}" srcId="{292347EB-4AB2-48A5-873D-84BEA6F3032D}" destId="{2DC3C5CD-771E-42DE-8243-659C02638BFE}" srcOrd="0" destOrd="0" parTransId="{55123B0D-F224-401D-AE0D-A2E4A49AEADB}" sibTransId="{259024B8-BDA1-4B4D-8E30-14B327ACEE26}"/>
    <dgm:cxn modelId="{0A6B8402-80BC-435A-AB86-3EE16D6517BC}" type="presParOf" srcId="{76C5EDEE-0C54-4093-9110-65706FDABBC4}" destId="{FC5A0260-4680-4CEB-8CE7-91C7376A7FBA}" srcOrd="0" destOrd="0" presId="urn:microsoft.com/office/officeart/2005/8/layout/hList1"/>
    <dgm:cxn modelId="{AAA6C080-2D0A-4F13-98E4-1DC74C32E179}" type="presParOf" srcId="{FC5A0260-4680-4CEB-8CE7-91C7376A7FBA}" destId="{25BAC45F-921A-4C84-9B32-DE38CA2EDF5D}" srcOrd="0" destOrd="0" presId="urn:microsoft.com/office/officeart/2005/8/layout/hList1"/>
    <dgm:cxn modelId="{41F7633B-89FB-43C9-ADBA-43878C367597}" type="presParOf" srcId="{FC5A0260-4680-4CEB-8CE7-91C7376A7FBA}" destId="{396BCE2B-C672-4007-B3BF-7AED45076D7D}" srcOrd="1" destOrd="0" presId="urn:microsoft.com/office/officeart/2005/8/layout/hList1"/>
    <dgm:cxn modelId="{0480E425-B6B2-4140-889B-F7F3AD2FF8BC}" type="presParOf" srcId="{76C5EDEE-0C54-4093-9110-65706FDABBC4}" destId="{FA02C7C4-AE26-4116-8324-82A224839DBD}" srcOrd="1" destOrd="0" presId="urn:microsoft.com/office/officeart/2005/8/layout/hList1"/>
    <dgm:cxn modelId="{F70E83CC-F7AE-46D1-A7DC-5AFFD5B22939}" type="presParOf" srcId="{76C5EDEE-0C54-4093-9110-65706FDABBC4}" destId="{DB4295B6-0576-48AD-8A20-AEE4ACE04B45}" srcOrd="2" destOrd="0" presId="urn:microsoft.com/office/officeart/2005/8/layout/hList1"/>
    <dgm:cxn modelId="{A9B22A31-3F2F-4D93-B374-3B49598672DF}" type="presParOf" srcId="{DB4295B6-0576-48AD-8A20-AEE4ACE04B45}" destId="{87019672-5779-403A-8843-6A3CDF5EDC11}" srcOrd="0" destOrd="0" presId="urn:microsoft.com/office/officeart/2005/8/layout/hList1"/>
    <dgm:cxn modelId="{F3E66D97-13A2-4DE7-A548-6B2728C982B7}" type="presParOf" srcId="{DB4295B6-0576-48AD-8A20-AEE4ACE04B45}" destId="{93C18ECF-4BF9-4E52-8331-3490D9D1411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1A9226-430B-427A-B8D3-72841211E8F9}">
      <dsp:nvSpPr>
        <dsp:cNvPr id="0" name=""/>
        <dsp:cNvSpPr/>
      </dsp:nvSpPr>
      <dsp:spPr>
        <a:xfrm>
          <a:off x="38" y="2314"/>
          <a:ext cx="3724722" cy="950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696" tIns="134112" rIns="234696" bIns="134112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300" kern="1200" dirty="0"/>
        </a:p>
      </dsp:txBody>
      <dsp:txXfrm>
        <a:off x="38" y="2314"/>
        <a:ext cx="3724722" cy="950400"/>
      </dsp:txXfrm>
    </dsp:sp>
    <dsp:sp modelId="{6F7C46E9-5F78-4F8B-808C-71E80FD0FE22}">
      <dsp:nvSpPr>
        <dsp:cNvPr id="0" name=""/>
        <dsp:cNvSpPr/>
      </dsp:nvSpPr>
      <dsp:spPr>
        <a:xfrm>
          <a:off x="38" y="952714"/>
          <a:ext cx="3724722" cy="2581672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External sales force, marketing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Easier coverage of new / minor markets (sales force, customer preferences, market restrictions etc.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No need to have too diverse product portfolio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Ability to provide a solution or consultanc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Customer can see or touch product</a:t>
          </a:r>
        </a:p>
      </dsp:txBody>
      <dsp:txXfrm>
        <a:off x="38" y="952714"/>
        <a:ext cx="3724722" cy="2581672"/>
      </dsp:txXfrm>
    </dsp:sp>
    <dsp:sp modelId="{B5885A50-E8D4-42AB-B430-34CA0BA83C94}">
      <dsp:nvSpPr>
        <dsp:cNvPr id="0" name=""/>
        <dsp:cNvSpPr/>
      </dsp:nvSpPr>
      <dsp:spPr>
        <a:xfrm>
          <a:off x="4246222" y="2314"/>
          <a:ext cx="3724722" cy="950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696" tIns="134112" rIns="234696" bIns="134112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300" kern="1200" dirty="0"/>
        </a:p>
      </dsp:txBody>
      <dsp:txXfrm>
        <a:off x="4246222" y="2314"/>
        <a:ext cx="3724722" cy="950400"/>
      </dsp:txXfrm>
    </dsp:sp>
    <dsp:sp modelId="{01E907F0-5DC5-415A-B2A3-77F911CF4213}">
      <dsp:nvSpPr>
        <dsp:cNvPr id="0" name=""/>
        <dsp:cNvSpPr/>
      </dsp:nvSpPr>
      <dsp:spPr>
        <a:xfrm>
          <a:off x="4246222" y="952714"/>
          <a:ext cx="3724722" cy="2581672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Lack of contact with end user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upply chain managemen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Risk that reseller will not know the product portfolio well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Risk that reseller will prefer to sell competitor’s products (on shelf placement etc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Need to share margin</a:t>
          </a:r>
        </a:p>
      </dsp:txBody>
      <dsp:txXfrm>
        <a:off x="4246222" y="952714"/>
        <a:ext cx="3724722" cy="25816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05E4A6-B521-4D2A-8A77-946E7BAB7AE7}">
      <dsp:nvSpPr>
        <dsp:cNvPr id="0" name=""/>
        <dsp:cNvSpPr/>
      </dsp:nvSpPr>
      <dsp:spPr>
        <a:xfrm>
          <a:off x="2661" y="1087"/>
          <a:ext cx="2594696" cy="10080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2"/>
              </a:solidFill>
            </a:rPr>
            <a:t>Registered Partners</a:t>
          </a:r>
        </a:p>
      </dsp:txBody>
      <dsp:txXfrm>
        <a:off x="2661" y="1087"/>
        <a:ext cx="2594696" cy="1008000"/>
      </dsp:txXfrm>
    </dsp:sp>
    <dsp:sp modelId="{9EC4AE73-85A9-4FCA-A319-ADF9FC1969CC}">
      <dsp:nvSpPr>
        <dsp:cNvPr id="0" name=""/>
        <dsp:cNvSpPr/>
      </dsp:nvSpPr>
      <dsp:spPr>
        <a:xfrm>
          <a:off x="2661" y="1009088"/>
          <a:ext cx="2594696" cy="2305800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Entry program for most partners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Grants access to Dell’s partner portal and customer support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Access to trainings and certifications </a:t>
          </a:r>
          <a:endParaRPr lang="en-US" sz="1800" kern="1200" dirty="0"/>
        </a:p>
      </dsp:txBody>
      <dsp:txXfrm>
        <a:off x="2661" y="1009088"/>
        <a:ext cx="2594696" cy="2305800"/>
      </dsp:txXfrm>
    </dsp:sp>
    <dsp:sp modelId="{39A9344C-685F-462E-82D3-262F833DEB9B}">
      <dsp:nvSpPr>
        <dsp:cNvPr id="0" name=""/>
        <dsp:cNvSpPr/>
      </dsp:nvSpPr>
      <dsp:spPr>
        <a:xfrm>
          <a:off x="2960615" y="1087"/>
          <a:ext cx="2594696" cy="1008000"/>
        </a:xfrm>
        <a:prstGeom prst="rect">
          <a:avLst/>
        </a:prstGeom>
        <a:solidFill>
          <a:schemeClr val="accent4">
            <a:hueOff val="5948283"/>
            <a:satOff val="-18235"/>
            <a:lumOff val="-1667"/>
            <a:alphaOff val="0"/>
          </a:schemeClr>
        </a:solidFill>
        <a:ln w="25400" cap="flat" cmpd="sng" algn="ctr">
          <a:solidFill>
            <a:schemeClr val="accent4">
              <a:hueOff val="5948283"/>
              <a:satOff val="-18235"/>
              <a:lumOff val="-166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2"/>
              </a:solidFill>
            </a:rPr>
            <a:t>Preferred Partners</a:t>
          </a:r>
        </a:p>
      </dsp:txBody>
      <dsp:txXfrm>
        <a:off x="2960615" y="1087"/>
        <a:ext cx="2594696" cy="1008000"/>
      </dsp:txXfrm>
    </dsp:sp>
    <dsp:sp modelId="{A3E0ECB9-0B55-420A-9028-AE856437E1D4}">
      <dsp:nvSpPr>
        <dsp:cNvPr id="0" name=""/>
        <dsp:cNvSpPr/>
      </dsp:nvSpPr>
      <dsp:spPr>
        <a:xfrm>
          <a:off x="2960615" y="1009088"/>
          <a:ext cx="2594696" cy="2305800"/>
        </a:xfrm>
        <a:prstGeom prst="rect">
          <a:avLst/>
        </a:prstGeom>
        <a:solidFill>
          <a:schemeClr val="accent4">
            <a:tint val="40000"/>
            <a:alpha val="90000"/>
            <a:hueOff val="6281764"/>
            <a:satOff val="-17206"/>
            <a:lumOff val="-1204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6281764"/>
              <a:satOff val="-17206"/>
              <a:lumOff val="-12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Assigned account manager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Better return and payment conditions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Requires Dell certifications and minimal revenue threshold</a:t>
          </a:r>
          <a:endParaRPr lang="en-US" sz="1800" kern="1200" dirty="0"/>
        </a:p>
      </dsp:txBody>
      <dsp:txXfrm>
        <a:off x="2960615" y="1009088"/>
        <a:ext cx="2594696" cy="2305800"/>
      </dsp:txXfrm>
    </dsp:sp>
    <dsp:sp modelId="{B33AE0A7-0AC4-4F0E-B71A-F5D77ECFF439}">
      <dsp:nvSpPr>
        <dsp:cNvPr id="0" name=""/>
        <dsp:cNvSpPr/>
      </dsp:nvSpPr>
      <dsp:spPr>
        <a:xfrm>
          <a:off x="5918569" y="1087"/>
          <a:ext cx="2594696" cy="1008000"/>
        </a:xfrm>
        <a:prstGeom prst="rect">
          <a:avLst/>
        </a:prstGeom>
        <a:solidFill>
          <a:schemeClr val="accent4">
            <a:hueOff val="11896566"/>
            <a:satOff val="-36471"/>
            <a:lumOff val="-3333"/>
            <a:alphaOff val="0"/>
          </a:schemeClr>
        </a:solidFill>
        <a:ln w="25400" cap="flat" cmpd="sng" algn="ctr">
          <a:solidFill>
            <a:schemeClr val="accent4">
              <a:hueOff val="11896566"/>
              <a:satOff val="-36471"/>
              <a:lumOff val="-333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2"/>
              </a:solidFill>
            </a:rPr>
            <a:t>Premier Partners</a:t>
          </a:r>
        </a:p>
      </dsp:txBody>
      <dsp:txXfrm>
        <a:off x="5918569" y="1087"/>
        <a:ext cx="2594696" cy="1008000"/>
      </dsp:txXfrm>
    </dsp:sp>
    <dsp:sp modelId="{D712E55B-6992-4987-AF77-CF407298B067}">
      <dsp:nvSpPr>
        <dsp:cNvPr id="0" name=""/>
        <dsp:cNvSpPr/>
      </dsp:nvSpPr>
      <dsp:spPr>
        <a:xfrm>
          <a:off x="5918569" y="1009088"/>
          <a:ext cx="2594696" cy="2305800"/>
        </a:xfrm>
        <a:prstGeom prst="rect">
          <a:avLst/>
        </a:prstGeom>
        <a:solidFill>
          <a:schemeClr val="accent4">
            <a:tint val="40000"/>
            <a:alpha val="90000"/>
            <a:hueOff val="12563528"/>
            <a:satOff val="-34413"/>
            <a:lumOff val="-2409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12563528"/>
              <a:satOff val="-34413"/>
              <a:lumOff val="-240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Highest level of support from Dell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Requires two or more Dell certifications and higher revenue threshold than Preferred</a:t>
          </a:r>
          <a:endParaRPr lang="en-US" sz="1800" kern="1200" dirty="0"/>
        </a:p>
      </dsp:txBody>
      <dsp:txXfrm>
        <a:off x="5918569" y="1009088"/>
        <a:ext cx="2594696" cy="23058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9283AA-20FF-4BB6-842F-7B4A46814843}">
      <dsp:nvSpPr>
        <dsp:cNvPr id="0" name=""/>
        <dsp:cNvSpPr/>
      </dsp:nvSpPr>
      <dsp:spPr>
        <a:xfrm>
          <a:off x="3194" y="279075"/>
          <a:ext cx="1921055" cy="67855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solidFill>
                <a:schemeClr val="tx2"/>
              </a:solidFill>
            </a:rPr>
            <a:t>Large Enterprise</a:t>
          </a:r>
        </a:p>
      </dsp:txBody>
      <dsp:txXfrm>
        <a:off x="3194" y="279075"/>
        <a:ext cx="1921055" cy="678550"/>
      </dsp:txXfrm>
    </dsp:sp>
    <dsp:sp modelId="{46C28005-8AB9-424C-9547-D5CD8AE8688D}">
      <dsp:nvSpPr>
        <dsp:cNvPr id="0" name=""/>
        <dsp:cNvSpPr/>
      </dsp:nvSpPr>
      <dsp:spPr>
        <a:xfrm>
          <a:off x="3194" y="957626"/>
          <a:ext cx="1921055" cy="219050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Large business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WW presence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Small non-segmented countries</a:t>
          </a:r>
          <a:endParaRPr lang="en-US" sz="1900" kern="1200" dirty="0"/>
        </a:p>
      </dsp:txBody>
      <dsp:txXfrm>
        <a:off x="3194" y="957626"/>
        <a:ext cx="1921055" cy="2190509"/>
      </dsp:txXfrm>
    </dsp:sp>
    <dsp:sp modelId="{851B1D29-A470-4E95-B9E2-D2846F7C7A47}">
      <dsp:nvSpPr>
        <dsp:cNvPr id="0" name=""/>
        <dsp:cNvSpPr/>
      </dsp:nvSpPr>
      <dsp:spPr>
        <a:xfrm>
          <a:off x="2193197" y="279075"/>
          <a:ext cx="1921055" cy="67855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solidFill>
                <a:schemeClr val="tx2"/>
              </a:solidFill>
            </a:rPr>
            <a:t>Public</a:t>
          </a:r>
        </a:p>
      </dsp:txBody>
      <dsp:txXfrm>
        <a:off x="2193197" y="279075"/>
        <a:ext cx="1921055" cy="678550"/>
      </dsp:txXfrm>
    </dsp:sp>
    <dsp:sp modelId="{5D9EE4BF-423A-4F73-9138-34664B59736B}">
      <dsp:nvSpPr>
        <dsp:cNvPr id="0" name=""/>
        <dsp:cNvSpPr/>
      </dsp:nvSpPr>
      <dsp:spPr>
        <a:xfrm>
          <a:off x="2193197" y="957626"/>
          <a:ext cx="1921055" cy="2190509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Healthcare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Government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Schools</a:t>
          </a:r>
          <a:endParaRPr lang="en-US" sz="1900" kern="1200" dirty="0"/>
        </a:p>
      </dsp:txBody>
      <dsp:txXfrm>
        <a:off x="2193197" y="957626"/>
        <a:ext cx="1921055" cy="2190509"/>
      </dsp:txXfrm>
    </dsp:sp>
    <dsp:sp modelId="{DC8B808B-617D-4B86-84EC-21B55630A0D9}">
      <dsp:nvSpPr>
        <dsp:cNvPr id="0" name=""/>
        <dsp:cNvSpPr/>
      </dsp:nvSpPr>
      <dsp:spPr>
        <a:xfrm>
          <a:off x="4383200" y="279075"/>
          <a:ext cx="1921055" cy="67855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solidFill>
                <a:schemeClr val="tx2"/>
              </a:solidFill>
            </a:rPr>
            <a:t>Small &amp; Medium</a:t>
          </a:r>
        </a:p>
      </dsp:txBody>
      <dsp:txXfrm>
        <a:off x="4383200" y="279075"/>
        <a:ext cx="1921055" cy="678550"/>
      </dsp:txXfrm>
    </dsp:sp>
    <dsp:sp modelId="{E6A8B8E1-0B3E-4CFA-BA5D-2D19F5E98F6D}">
      <dsp:nvSpPr>
        <dsp:cNvPr id="0" name=""/>
        <dsp:cNvSpPr/>
      </dsp:nvSpPr>
      <dsp:spPr>
        <a:xfrm>
          <a:off x="4383200" y="957626"/>
          <a:ext cx="1921055" cy="2190509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Medium business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Small business</a:t>
          </a:r>
          <a:endParaRPr lang="en-US" sz="1900" kern="1200" dirty="0"/>
        </a:p>
      </dsp:txBody>
      <dsp:txXfrm>
        <a:off x="4383200" y="957626"/>
        <a:ext cx="1921055" cy="2190509"/>
      </dsp:txXfrm>
    </dsp:sp>
    <dsp:sp modelId="{CF02618E-220F-4213-9778-BFED1D7823D9}">
      <dsp:nvSpPr>
        <dsp:cNvPr id="0" name=""/>
        <dsp:cNvSpPr/>
      </dsp:nvSpPr>
      <dsp:spPr>
        <a:xfrm>
          <a:off x="6573203" y="279075"/>
          <a:ext cx="1921055" cy="67855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solidFill>
                <a:schemeClr val="tx2"/>
              </a:solidFill>
            </a:rPr>
            <a:t>Consumer</a:t>
          </a:r>
          <a:endParaRPr lang="en-US" sz="1900" b="1" kern="1200" dirty="0">
            <a:solidFill>
              <a:schemeClr val="tx2"/>
            </a:solidFill>
          </a:endParaRPr>
        </a:p>
      </dsp:txBody>
      <dsp:txXfrm>
        <a:off x="6573203" y="279075"/>
        <a:ext cx="1921055" cy="678550"/>
      </dsp:txXfrm>
    </dsp:sp>
    <dsp:sp modelId="{84C16362-7B84-424F-A27C-FEEF27A92324}">
      <dsp:nvSpPr>
        <dsp:cNvPr id="0" name=""/>
        <dsp:cNvSpPr/>
      </dsp:nvSpPr>
      <dsp:spPr>
        <a:xfrm>
          <a:off x="6573203" y="957626"/>
          <a:ext cx="1921055" cy="2190509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Consumers</a:t>
          </a:r>
          <a:endParaRPr lang="en-US" sz="1900" kern="1200" dirty="0"/>
        </a:p>
      </dsp:txBody>
      <dsp:txXfrm>
        <a:off x="6573203" y="957626"/>
        <a:ext cx="1921055" cy="219050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1720D9-D897-4EF1-8DA3-43F378460733}">
      <dsp:nvSpPr>
        <dsp:cNvPr id="0" name=""/>
        <dsp:cNvSpPr/>
      </dsp:nvSpPr>
      <dsp:spPr>
        <a:xfrm>
          <a:off x="32" y="80950"/>
          <a:ext cx="3155007" cy="6345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2"/>
              </a:solidFill>
            </a:rPr>
            <a:t>Before</a:t>
          </a:r>
          <a:endParaRPr lang="en-US" sz="2800" kern="1200" dirty="0">
            <a:solidFill>
              <a:schemeClr val="tx2"/>
            </a:solidFill>
          </a:endParaRPr>
        </a:p>
      </dsp:txBody>
      <dsp:txXfrm>
        <a:off x="32" y="80950"/>
        <a:ext cx="3155007" cy="634587"/>
      </dsp:txXfrm>
    </dsp:sp>
    <dsp:sp modelId="{94793252-0F4F-48BB-9C62-CD2B9C677AEA}">
      <dsp:nvSpPr>
        <dsp:cNvPr id="0" name=""/>
        <dsp:cNvSpPr/>
      </dsp:nvSpPr>
      <dsp:spPr>
        <a:xfrm>
          <a:off x="32" y="715538"/>
          <a:ext cx="3155007" cy="13340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Regional business structur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High reporting complexity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Complex Internal Tree</a:t>
          </a:r>
        </a:p>
      </dsp:txBody>
      <dsp:txXfrm>
        <a:off x="32" y="715538"/>
        <a:ext cx="3155007" cy="1334070"/>
      </dsp:txXfrm>
    </dsp:sp>
    <dsp:sp modelId="{6C905DFF-C80E-4136-8442-ED654FA1E871}">
      <dsp:nvSpPr>
        <dsp:cNvPr id="0" name=""/>
        <dsp:cNvSpPr/>
      </dsp:nvSpPr>
      <dsp:spPr>
        <a:xfrm>
          <a:off x="3596740" y="80950"/>
          <a:ext cx="3155007" cy="63458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2"/>
              </a:solidFill>
            </a:rPr>
            <a:t>After</a:t>
          </a:r>
          <a:endParaRPr lang="en-US" sz="2800" kern="1200" dirty="0">
            <a:solidFill>
              <a:schemeClr val="tx2"/>
            </a:solidFill>
          </a:endParaRPr>
        </a:p>
      </dsp:txBody>
      <dsp:txXfrm>
        <a:off x="3596740" y="80950"/>
        <a:ext cx="3155007" cy="634587"/>
      </dsp:txXfrm>
    </dsp:sp>
    <dsp:sp modelId="{50BAD6DE-37AC-4894-90E8-BE536CAD81DE}">
      <dsp:nvSpPr>
        <dsp:cNvPr id="0" name=""/>
        <dsp:cNvSpPr/>
      </dsp:nvSpPr>
      <dsp:spPr>
        <a:xfrm>
          <a:off x="3596740" y="715538"/>
          <a:ext cx="3155007" cy="133407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Global business structur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smtClean="0"/>
            <a:t>Lower complexity</a:t>
          </a:r>
          <a:endParaRPr lang="en-US" sz="1800" kern="1200" dirty="0" smtClean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Simplified hierarchy</a:t>
          </a:r>
        </a:p>
      </dsp:txBody>
      <dsp:txXfrm>
        <a:off x="3596740" y="715538"/>
        <a:ext cx="3155007" cy="133407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04E253-2ACA-4D17-B7B3-FB01CE5C18D8}">
      <dsp:nvSpPr>
        <dsp:cNvPr id="0" name=""/>
        <dsp:cNvSpPr/>
      </dsp:nvSpPr>
      <dsp:spPr>
        <a:xfrm>
          <a:off x="3309" y="346185"/>
          <a:ext cx="1989962" cy="79598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b="1" kern="1200" dirty="0" smtClean="0">
              <a:solidFill>
                <a:schemeClr val="tx2"/>
              </a:solidFill>
            </a:rPr>
            <a:t>EUC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1" kern="1200" dirty="0" smtClean="0">
              <a:solidFill>
                <a:schemeClr val="tx2"/>
              </a:solidFill>
            </a:rPr>
            <a:t>End-user computing</a:t>
          </a:r>
          <a:endParaRPr lang="en-US" sz="1400" b="1" kern="1200" dirty="0" smtClean="0">
            <a:solidFill>
              <a:schemeClr val="tx2"/>
            </a:solidFill>
          </a:endParaRPr>
        </a:p>
      </dsp:txBody>
      <dsp:txXfrm>
        <a:off x="3309" y="346185"/>
        <a:ext cx="1989962" cy="795984"/>
      </dsp:txXfrm>
    </dsp:sp>
    <dsp:sp modelId="{D8AC1FD4-06E5-4DD9-9416-D2E194F3AA49}">
      <dsp:nvSpPr>
        <dsp:cNvPr id="0" name=""/>
        <dsp:cNvSpPr/>
      </dsp:nvSpPr>
      <dsp:spPr>
        <a:xfrm>
          <a:off x="3309" y="1142169"/>
          <a:ext cx="1989962" cy="281088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Mobility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Desktop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Notebook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3rd party SW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Client-related SVC &amp; products</a:t>
          </a:r>
          <a:endParaRPr lang="en-US" sz="1600" kern="1200" dirty="0"/>
        </a:p>
      </dsp:txBody>
      <dsp:txXfrm>
        <a:off x="3309" y="1142169"/>
        <a:ext cx="1989962" cy="2810880"/>
      </dsp:txXfrm>
    </dsp:sp>
    <dsp:sp modelId="{4A46C2D3-19AC-4EB8-8377-111FE9101F0A}">
      <dsp:nvSpPr>
        <dsp:cNvPr id="0" name=""/>
        <dsp:cNvSpPr/>
      </dsp:nvSpPr>
      <dsp:spPr>
        <a:xfrm>
          <a:off x="2271866" y="346185"/>
          <a:ext cx="1989962" cy="79598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2000" b="1" kern="1200" dirty="0" smtClean="0">
              <a:solidFill>
                <a:schemeClr val="tx2"/>
              </a:solidFill>
            </a:rPr>
            <a:t>ESG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600" b="1" kern="1200" dirty="0" smtClean="0">
              <a:solidFill>
                <a:schemeClr val="tx2"/>
              </a:solidFill>
            </a:rPr>
            <a:t>Enterprise Solution Group</a:t>
          </a:r>
        </a:p>
      </dsp:txBody>
      <dsp:txXfrm>
        <a:off x="2271866" y="346185"/>
        <a:ext cx="1989962" cy="795984"/>
      </dsp:txXfrm>
    </dsp:sp>
    <dsp:sp modelId="{1913642A-BFC5-4871-BF0A-69D261FB5F98}">
      <dsp:nvSpPr>
        <dsp:cNvPr id="0" name=""/>
        <dsp:cNvSpPr/>
      </dsp:nvSpPr>
      <dsp:spPr>
        <a:xfrm>
          <a:off x="2271866" y="1142169"/>
          <a:ext cx="1989962" cy="281088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erver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Networking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torage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Related peripherals products</a:t>
          </a:r>
          <a:endParaRPr lang="en-US" sz="1600" kern="1200" dirty="0"/>
        </a:p>
      </dsp:txBody>
      <dsp:txXfrm>
        <a:off x="2271866" y="1142169"/>
        <a:ext cx="1989962" cy="2810880"/>
      </dsp:txXfrm>
    </dsp:sp>
    <dsp:sp modelId="{882DC342-08F5-443A-A4E8-D25BC8E98BC4}">
      <dsp:nvSpPr>
        <dsp:cNvPr id="0" name=""/>
        <dsp:cNvSpPr/>
      </dsp:nvSpPr>
      <dsp:spPr>
        <a:xfrm>
          <a:off x="4540423" y="346185"/>
          <a:ext cx="1989962" cy="79598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2"/>
              </a:solidFill>
            </a:rPr>
            <a:t>Services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2"/>
              </a:solidFill>
            </a:rPr>
            <a:t>Dell Services</a:t>
          </a:r>
          <a:endParaRPr lang="en-US" sz="1800" b="1" kern="1200" dirty="0">
            <a:solidFill>
              <a:schemeClr val="tx2"/>
            </a:solidFill>
          </a:endParaRPr>
        </a:p>
      </dsp:txBody>
      <dsp:txXfrm>
        <a:off x="4540423" y="346185"/>
        <a:ext cx="1989962" cy="795984"/>
      </dsp:txXfrm>
    </dsp:sp>
    <dsp:sp modelId="{FA668119-9F26-404B-A5C8-9043DD8F9452}">
      <dsp:nvSpPr>
        <dsp:cNvPr id="0" name=""/>
        <dsp:cNvSpPr/>
      </dsp:nvSpPr>
      <dsp:spPr>
        <a:xfrm>
          <a:off x="4540423" y="1142169"/>
          <a:ext cx="1989962" cy="2810880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upport &amp; Deployment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Infrastructure &amp; Cloud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ecurity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Applications &amp; Business process</a:t>
          </a:r>
          <a:endParaRPr lang="en-US" sz="1600" kern="1200" dirty="0"/>
        </a:p>
      </dsp:txBody>
      <dsp:txXfrm>
        <a:off x="4540423" y="1142169"/>
        <a:ext cx="1989962" cy="2810880"/>
      </dsp:txXfrm>
    </dsp:sp>
    <dsp:sp modelId="{B527A297-1585-48FE-82A4-A10D59D17255}">
      <dsp:nvSpPr>
        <dsp:cNvPr id="0" name=""/>
        <dsp:cNvSpPr/>
      </dsp:nvSpPr>
      <dsp:spPr>
        <a:xfrm>
          <a:off x="6808981" y="346185"/>
          <a:ext cx="1989962" cy="79598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2"/>
              </a:solidFill>
            </a:rPr>
            <a:t>Software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tx2"/>
              </a:solidFill>
            </a:rPr>
            <a:t>Dell Software</a:t>
          </a:r>
        </a:p>
      </dsp:txBody>
      <dsp:txXfrm>
        <a:off x="6808981" y="346185"/>
        <a:ext cx="1989962" cy="795984"/>
      </dsp:txXfrm>
    </dsp:sp>
    <dsp:sp modelId="{D6AFEF8D-BB4F-4598-A62A-26BE28601955}">
      <dsp:nvSpPr>
        <dsp:cNvPr id="0" name=""/>
        <dsp:cNvSpPr/>
      </dsp:nvSpPr>
      <dsp:spPr>
        <a:xfrm>
          <a:off x="6808981" y="1142169"/>
          <a:ext cx="1989962" cy="2810880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ystems management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ecurity and business intelligence SW</a:t>
          </a:r>
          <a:endParaRPr lang="en-US" sz="1600" kern="1200" dirty="0"/>
        </a:p>
      </dsp:txBody>
      <dsp:txXfrm>
        <a:off x="6808981" y="1142169"/>
        <a:ext cx="1989962" cy="281088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BAC45F-921A-4C84-9B32-DE38CA2EDF5D}">
      <dsp:nvSpPr>
        <dsp:cNvPr id="0" name=""/>
        <dsp:cNvSpPr/>
      </dsp:nvSpPr>
      <dsp:spPr>
        <a:xfrm>
          <a:off x="38" y="102066"/>
          <a:ext cx="3709923" cy="6336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2"/>
              </a:solidFill>
            </a:rPr>
            <a:t>Consumer</a:t>
          </a:r>
          <a:endParaRPr lang="en-US" sz="2800" kern="1200" dirty="0">
            <a:solidFill>
              <a:schemeClr val="tx2"/>
            </a:solidFill>
          </a:endParaRPr>
        </a:p>
      </dsp:txBody>
      <dsp:txXfrm>
        <a:off x="38" y="102066"/>
        <a:ext cx="3709923" cy="633600"/>
      </dsp:txXfrm>
    </dsp:sp>
    <dsp:sp modelId="{396BCE2B-C672-4007-B3BF-7AED45076D7D}">
      <dsp:nvSpPr>
        <dsp:cNvPr id="0" name=""/>
        <dsp:cNvSpPr/>
      </dsp:nvSpPr>
      <dsp:spPr>
        <a:xfrm>
          <a:off x="38" y="735666"/>
          <a:ext cx="3709923" cy="1681484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Ubiquitous computing</a:t>
          </a:r>
          <a:endParaRPr lang="en-U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Always On connectivity</a:t>
          </a:r>
          <a:endParaRPr lang="en-U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Anywhere Anytime mobility</a:t>
          </a:r>
          <a:endParaRPr lang="en-US" sz="2200" kern="1200" dirty="0"/>
        </a:p>
      </dsp:txBody>
      <dsp:txXfrm>
        <a:off x="38" y="735666"/>
        <a:ext cx="3709923" cy="1681484"/>
      </dsp:txXfrm>
    </dsp:sp>
    <dsp:sp modelId="{87019672-5779-403A-8843-6A3CDF5EDC11}">
      <dsp:nvSpPr>
        <dsp:cNvPr id="0" name=""/>
        <dsp:cNvSpPr/>
      </dsp:nvSpPr>
      <dsp:spPr>
        <a:xfrm>
          <a:off x="4229351" y="102066"/>
          <a:ext cx="3709923" cy="63360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>
              <a:solidFill>
                <a:schemeClr val="tx2"/>
              </a:solidFill>
            </a:rPr>
            <a:t>Enterprise</a:t>
          </a:r>
          <a:endParaRPr lang="en-US" sz="2800" kern="1200" dirty="0">
            <a:solidFill>
              <a:schemeClr val="tx2"/>
            </a:solidFill>
          </a:endParaRPr>
        </a:p>
      </dsp:txBody>
      <dsp:txXfrm>
        <a:off x="4229351" y="102066"/>
        <a:ext cx="3709923" cy="633600"/>
      </dsp:txXfrm>
    </dsp:sp>
    <dsp:sp modelId="{93C18ECF-4BF9-4E52-8331-3490D9D14114}">
      <dsp:nvSpPr>
        <dsp:cNvPr id="0" name=""/>
        <dsp:cNvSpPr/>
      </dsp:nvSpPr>
      <dsp:spPr>
        <a:xfrm>
          <a:off x="4229351" y="735666"/>
          <a:ext cx="3709923" cy="1681484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Mobility</a:t>
          </a:r>
          <a:endParaRPr lang="en-US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smtClean="0"/>
            <a:t>Increasing IT Complexity</a:t>
          </a:r>
          <a:endParaRPr lang="en-US" sz="2200" kern="120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smtClean="0"/>
            <a:t>Cloud Computing</a:t>
          </a:r>
          <a:endParaRPr lang="en-US" sz="2200" kern="120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200" kern="1200" dirty="0" smtClean="0"/>
            <a:t>Large Data Analytics</a:t>
          </a:r>
          <a:endParaRPr lang="en-US" sz="2200" kern="1200" dirty="0"/>
        </a:p>
      </dsp:txBody>
      <dsp:txXfrm>
        <a:off x="4229351" y="735666"/>
        <a:ext cx="3709923" cy="16814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93107" cy="45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>
            <a:lvl1pPr algn="l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sz="1000" dirty="0">
              <a:latin typeface="Museo Sans For Dell" pitchFamily="2" charset="0"/>
            </a:endParaRPr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95051" y="0"/>
            <a:ext cx="2994698" cy="45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sz="1000">
              <a:latin typeface="Museo Sans For Dell" pitchFamily="2" charset="0"/>
            </a:endParaRPr>
          </a:p>
        </p:txBody>
      </p:sp>
      <p:sp>
        <p:nvSpPr>
          <p:cNvPr id="921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55046"/>
            <a:ext cx="2993107" cy="532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l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sz="1000">
              <a:latin typeface="Museo Sans For Dell" pitchFamily="2" charset="0"/>
            </a:endParaRPr>
          </a:p>
        </p:txBody>
      </p:sp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95051" y="8755046"/>
            <a:ext cx="2994698" cy="532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AC8DF440-AC1E-4EB3-BCAA-2AAB8924A793}" type="slidenum">
              <a:rPr lang="en-US" sz="1000">
                <a:latin typeface="Museo Sans For Dell" pitchFamily="2" charset="0"/>
              </a:rPr>
              <a:pPr>
                <a:defRPr/>
              </a:pPr>
              <a:t>‹#›</a:t>
            </a:fld>
            <a:endParaRPr lang="en-US" sz="1000">
              <a:latin typeface="Museo Sans For Dell" pitchFamily="2" charset="0"/>
            </a:endParaRPr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9090660"/>
            <a:ext cx="69977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850" b="1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2502234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93107" cy="45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>
            <a:lvl1pPr algn="l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95051" y="0"/>
            <a:ext cx="2994698" cy="45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2525" y="687388"/>
            <a:ext cx="4686300" cy="35147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2425" y="4428834"/>
            <a:ext cx="5144900" cy="4123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16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55046"/>
            <a:ext cx="2993107" cy="532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l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95051" y="8755046"/>
            <a:ext cx="2994698" cy="532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9090660"/>
            <a:ext cx="69977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1" i="0" u="none" baseline="0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 i="0" u="none" baseline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571271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8767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4866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1344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242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818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242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0367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158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2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mpetition</a:t>
            </a:r>
            <a:r>
              <a:rPr lang="en-US" baseline="0" dirty="0" smtClean="0"/>
              <a:t> – IBM, Apple, Japanese manufacturers</a:t>
            </a:r>
            <a:endParaRPr lang="en-US" dirty="0" smtClean="0"/>
          </a:p>
          <a:p>
            <a:r>
              <a:rPr lang="en-US" dirty="0" smtClean="0"/>
              <a:t>Competitive</a:t>
            </a:r>
            <a:r>
              <a:rPr lang="en-US" baseline="0" dirty="0" smtClean="0"/>
              <a:t> Advantage</a:t>
            </a:r>
          </a:p>
          <a:p>
            <a:r>
              <a:rPr lang="en-US" baseline="0" dirty="0" smtClean="0"/>
              <a:t>Building a brand – 15% discou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291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4866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8114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X issues</a:t>
            </a:r>
          </a:p>
          <a:p>
            <a:r>
              <a:rPr lang="en-US" dirty="0" smtClean="0"/>
              <a:t>Competition – followers</a:t>
            </a:r>
            <a:r>
              <a:rPr lang="en-US" baseline="0" dirty="0" smtClean="0"/>
              <a:t> as Gateway 2000 more aggressive in pricing (15-30% lower price)</a:t>
            </a:r>
          </a:p>
          <a:p>
            <a:r>
              <a:rPr lang="en-US" baseline="0" dirty="0" smtClean="0"/>
              <a:t>Geopolitics – The Fall of Berlin wall 1990 – new markets</a:t>
            </a:r>
          </a:p>
          <a:p>
            <a:r>
              <a:rPr lang="en-US" baseline="0" dirty="0" smtClean="0"/>
              <a:t>Improvement of logistics – Limerick factor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2717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486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action </a:t>
            </a:r>
            <a:r>
              <a:rPr lang="en-US" baseline="0" dirty="0" smtClean="0"/>
              <a:t>to customers who preferred a face-to-face, physical access sales process -&gt; Growing sales but with minimum profit -&gt;cash issues -&gt;</a:t>
            </a:r>
          </a:p>
          <a:p>
            <a:r>
              <a:rPr lang="en-US" baseline="0" dirty="0" smtClean="0"/>
              <a:t>First operating loss in 1993</a:t>
            </a:r>
          </a:p>
          <a:p>
            <a:r>
              <a:rPr lang="en-US" baseline="0" dirty="0" smtClean="0"/>
              <a:t>Indirect model didn’t work very well with Dell’s operating model and </a:t>
            </a:r>
            <a:r>
              <a:rPr lang="en-US" baseline="0" dirty="0" err="1" smtClean="0"/>
              <a:t>spartan</a:t>
            </a:r>
            <a:r>
              <a:rPr lang="en-US" baseline="0" dirty="0" smtClean="0"/>
              <a:t> approach</a:t>
            </a:r>
          </a:p>
          <a:p>
            <a:r>
              <a:rPr lang="en-US" baseline="0" dirty="0" smtClean="0"/>
              <a:t>Mid 1994 – Dell pulled out of the retail market  </a:t>
            </a:r>
          </a:p>
          <a:p>
            <a:endParaRPr lang="en-US" baseline="0" dirty="0" smtClean="0"/>
          </a:p>
          <a:p>
            <a:r>
              <a:rPr lang="en-US" baseline="0" dirty="0" smtClean="0"/>
              <a:t>1992 launching business in APJ (export). </a:t>
            </a:r>
          </a:p>
          <a:p>
            <a:r>
              <a:rPr lang="en-US" baseline="0" dirty="0" smtClean="0"/>
              <a:t>	Established competitors</a:t>
            </a:r>
          </a:p>
          <a:p>
            <a:r>
              <a:rPr lang="en-US" baseline="0" dirty="0" smtClean="0"/>
              <a:t>	different customer expectations ( in APJ they like to feel and touch products) </a:t>
            </a:r>
          </a:p>
          <a:p>
            <a:r>
              <a:rPr lang="en-US" baseline="0" dirty="0" smtClean="0"/>
              <a:t>	-&gt; low revenue ($20M)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704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486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679490"/>
            <a:ext cx="5962650" cy="1006685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0" y="4165390"/>
            <a:ext cx="5953125" cy="800101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781175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5076825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pic>
        <p:nvPicPr>
          <p:cNvPr id="11" name="Picture 10" descr="dell_blue_lrg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7265289" y="2651760"/>
            <a:ext cx="1487427" cy="1487427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itchFamily="34" charset="0"/>
            </a:endParaRPr>
          </a:p>
        </p:txBody>
      </p:sp>
      <p:pic>
        <p:nvPicPr>
          <p:cNvPr id="16" name="Picture 15" descr="dell_blue_lrg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265289" y="2651760"/>
            <a:ext cx="1487427" cy="1487427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" name="Picture 9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BF957C7E-C7E7-40ED-8DBB-CAEED742A383}" type="datetime1">
              <a:rPr lang="en-US" smtClean="0"/>
              <a:pPr/>
              <a:t>3/4/2014</a:t>
            </a:fld>
            <a:endParaRPr lang="en-US" dirty="0"/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4" name="Picture 13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ABA7141-3D1C-4B71-8E8A-1A5A719C17C1}" type="datetime1">
              <a:rPr lang="en-US" smtClean="0"/>
              <a:pPr/>
              <a:t>3/4/2014</a:t>
            </a:fld>
            <a:endParaRPr lang="en-US" dirty="0"/>
          </a:p>
        </p:txBody>
      </p:sp>
      <p:pic>
        <p:nvPicPr>
          <p:cNvPr id="8" name="Picture 7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40492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_Slide_Blue_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369888" y="2900380"/>
            <a:ext cx="6399622" cy="100668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 b="0" i="0" smtClean="0">
                <a:solidFill>
                  <a:schemeClr val="tx2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80999" y="1781175"/>
            <a:ext cx="8311513" cy="3295650"/>
            <a:chOff x="280033" y="1781175"/>
            <a:chExt cx="8412480" cy="329565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280033" y="178117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80033" y="507682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2" name="Picture 9" descr="whit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77195" y="2681959"/>
            <a:ext cx="1371487" cy="13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40492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656557"/>
      </p:ext>
    </p:extLst>
  </p:cSld>
  <p:clrMapOvr>
    <a:masterClrMapping/>
  </p:clrMapOvr>
  <p:transition spd="med">
    <p:wipe dir="r"/>
  </p:transition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093093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>
            <a:normAutofit/>
          </a:bodyPr>
          <a:lstStyle>
            <a:lvl1pPr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8" name="Picture 17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9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99482B3-49BE-4739-9B0D-BB895DB7BF23}" type="datetime1">
              <a:rPr lang="en-US" smtClean="0"/>
              <a:pPr/>
              <a:t>3/4/2014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0" y="1215482"/>
            <a:ext cx="8229600" cy="4925341"/>
          </a:xfrm>
        </p:spPr>
        <p:txBody>
          <a:bodyPr lIns="0" tIns="0" rIns="0" bIns="0"/>
          <a:lstStyle>
            <a:lvl1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2000">
                <a:solidFill>
                  <a:schemeClr val="tx2"/>
                </a:solidFill>
                <a:latin typeface="Museo Sans For Dell" pitchFamily="2" charset="0"/>
              </a:defRPr>
            </a:lvl1pPr>
            <a:lvl2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Museo For Dell 300" pitchFamily="50" charset="0"/>
              <a:buChar char="–"/>
              <a:defRPr sz="180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60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400">
                <a:solidFill>
                  <a:schemeClr val="tx2"/>
                </a:solidFill>
                <a:latin typeface="Museo Sans For Dell" pitchFamily="2" charset="0"/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200">
                <a:solidFill>
                  <a:schemeClr val="tx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20" name="Straight Connector 19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2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pic>
        <p:nvPicPr>
          <p:cNvPr id="10" name="Picture 9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8B27914F-C898-4076-B98B-C94F91F6A3C7}" type="datetime1">
              <a:rPr lang="en-US" smtClean="0"/>
              <a:pPr/>
              <a:t>3/4/2014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&amp; Background Image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2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pic>
        <p:nvPicPr>
          <p:cNvPr id="10" name="Picture 9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F31C0A23-4E9A-4B27-B9D5-98817EA1812E}" type="datetime1">
              <a:rPr lang="en-US" smtClean="0"/>
              <a:pPr/>
              <a:t>3/4/2014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/>
          <p:nvPr userDrawn="1"/>
        </p:nvGrpSpPr>
        <p:grpSpPr>
          <a:xfrm>
            <a:off x="380999" y="1781175"/>
            <a:ext cx="8311513" cy="3295650"/>
            <a:chOff x="280033" y="1781175"/>
            <a:chExt cx="8412480" cy="329565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280033" y="178117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80033" y="507682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2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377195" y="2681959"/>
            <a:ext cx="1371487" cy="13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21"/>
          <p:cNvSpPr>
            <a:spLocks noGrp="1"/>
          </p:cNvSpPr>
          <p:nvPr>
            <p:ph type="ctrTitle"/>
          </p:nvPr>
        </p:nvSpPr>
        <p:spPr>
          <a:xfrm>
            <a:off x="438150" y="2679490"/>
            <a:ext cx="5962650" cy="1006685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3600" b="0" i="0" smtClean="0">
                <a:solidFill>
                  <a:schemeClr val="tx2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4" name="Text Placeholder 12"/>
          <p:cNvSpPr>
            <a:spLocks noGrp="1"/>
          </p:cNvSpPr>
          <p:nvPr>
            <p:ph type="subTitle" idx="1"/>
          </p:nvPr>
        </p:nvSpPr>
        <p:spPr>
          <a:xfrm>
            <a:off x="447674" y="4165390"/>
            <a:ext cx="5953125" cy="800101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AABDE2C-AD38-4CC9-B4D3-51949B5041AF}" type="datetime1">
              <a:rPr lang="en-US" smtClean="0"/>
              <a:pPr/>
              <a:t>3/4/2014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1241426"/>
            <a:ext cx="4023360" cy="288452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tx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1241426"/>
            <a:ext cx="4023360" cy="288452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tx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5" y="4248615"/>
            <a:ext cx="8262938" cy="1917234"/>
          </a:xfrm>
        </p:spPr>
        <p:txBody>
          <a:bodyPr/>
          <a:lstStyle>
            <a:lvl3pPr>
              <a:spcBef>
                <a:spcPts val="100"/>
              </a:spcBef>
              <a:spcAft>
                <a:spcPts val="100"/>
              </a:spcAft>
              <a:defRPr/>
            </a:lvl3pPr>
            <a:lvl4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400">
                <a:solidFill>
                  <a:schemeClr val="tx2"/>
                </a:solidFill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C3CAA833-9901-410F-B9CF-BBA15AA951B6}" type="datetime1">
              <a:rPr lang="en-US" smtClean="0"/>
              <a:pPr/>
              <a:t>3/4/20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96060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61562"/>
            <a:ext cx="8239126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80160"/>
            <a:ext cx="8229600" cy="4754880"/>
          </a:xfrm>
        </p:spPr>
        <p:txBody>
          <a:bodyPr lIns="0" tIns="0" rIns="0" bIns="0"/>
          <a:lstStyle>
            <a:lvl1pPr>
              <a:spcBef>
                <a:spcPts val="100"/>
              </a:spcBef>
              <a:spcAft>
                <a:spcPts val="100"/>
              </a:spcAft>
              <a:defRPr sz="20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100"/>
              </a:spcBef>
              <a:spcAft>
                <a:spcPts val="100"/>
              </a:spcAft>
              <a:buFont typeface="Museo Sans For Dell" pitchFamily="2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spcAft>
                <a:spcPts val="100"/>
              </a:spcAft>
              <a:defRPr sz="16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100"/>
              </a:spcBef>
              <a:spcAft>
                <a:spcPts val="100"/>
              </a:spcAft>
              <a:defRPr sz="14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defRPr sz="12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4" name="Picture 13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DA5ED237-BA49-494A-B3B3-DDC72CDA5986}" type="datetime1">
              <a:rPr lang="en-US" smtClean="0"/>
              <a:pPr/>
              <a:t>3/4/2014</a:t>
            </a:fld>
            <a:endParaRPr lang="en-US" dirty="0"/>
          </a:p>
        </p:txBody>
      </p:sp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0" name="Picture 9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>
            <a:normAutofit/>
          </a:bodyPr>
          <a:lstStyle>
            <a:lvl1pPr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8" name="Picture 17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9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99482B3-49BE-4739-9B0D-BB895DB7BF23}" type="datetime1">
              <a:rPr lang="en-US" smtClean="0"/>
              <a:pPr/>
              <a:t>3/4/2014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0" y="1215482"/>
            <a:ext cx="8229600" cy="4925341"/>
          </a:xfrm>
        </p:spPr>
        <p:txBody>
          <a:bodyPr lIns="0" tIns="0" rIns="0" bIns="0"/>
          <a:lstStyle>
            <a:lvl1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2000">
                <a:solidFill>
                  <a:schemeClr val="tx2"/>
                </a:solidFill>
                <a:latin typeface="Museo Sans For Dell" pitchFamily="2" charset="0"/>
              </a:defRPr>
            </a:lvl1pPr>
            <a:lvl2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Museo For Dell 300" pitchFamily="50" charset="0"/>
              <a:buChar char="–"/>
              <a:defRPr sz="180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60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400">
                <a:solidFill>
                  <a:schemeClr val="tx2"/>
                </a:solidFill>
                <a:latin typeface="Museo Sans For Dell" pitchFamily="2" charset="0"/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200">
                <a:solidFill>
                  <a:schemeClr val="tx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20" name="Straight Connector 19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2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pic>
        <p:nvPicPr>
          <p:cNvPr id="10" name="Picture 9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8B27914F-C898-4076-B98B-C94F91F6A3C7}" type="datetime1">
              <a:rPr lang="en-US" smtClean="0"/>
              <a:pPr/>
              <a:t>3/4/2014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&amp; Background Image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2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pic>
        <p:nvPicPr>
          <p:cNvPr id="10" name="Picture 9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F31C0A23-4E9A-4B27-B9D5-98817EA1812E}" type="datetime1">
              <a:rPr lang="en-US" smtClean="0"/>
              <a:pPr/>
              <a:t>3/4/2014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/>
          <p:nvPr userDrawn="1"/>
        </p:nvGrpSpPr>
        <p:grpSpPr>
          <a:xfrm>
            <a:off x="380999" y="1781175"/>
            <a:ext cx="8311513" cy="3295650"/>
            <a:chOff x="280033" y="1781175"/>
            <a:chExt cx="8412480" cy="329565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280033" y="178117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80033" y="507682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2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377195" y="2681959"/>
            <a:ext cx="1371487" cy="13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21"/>
          <p:cNvSpPr>
            <a:spLocks noGrp="1"/>
          </p:cNvSpPr>
          <p:nvPr>
            <p:ph type="ctrTitle"/>
          </p:nvPr>
        </p:nvSpPr>
        <p:spPr>
          <a:xfrm>
            <a:off x="438150" y="2679490"/>
            <a:ext cx="5962650" cy="1006685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3600" b="0" i="0" smtClean="0">
                <a:solidFill>
                  <a:schemeClr val="tx2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4" name="Text Placeholder 12"/>
          <p:cNvSpPr>
            <a:spLocks noGrp="1"/>
          </p:cNvSpPr>
          <p:nvPr>
            <p:ph type="subTitle" idx="1"/>
          </p:nvPr>
        </p:nvSpPr>
        <p:spPr>
          <a:xfrm>
            <a:off x="447674" y="4165390"/>
            <a:ext cx="5953125" cy="800101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AABDE2C-AD38-4CC9-B4D3-51949B5041AF}" type="datetime1">
              <a:rPr lang="en-US" smtClean="0"/>
              <a:pPr/>
              <a:t>3/4/2014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1241426"/>
            <a:ext cx="4023360" cy="288452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tx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1241426"/>
            <a:ext cx="4023360" cy="288452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tx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5" y="4248615"/>
            <a:ext cx="8262938" cy="1917234"/>
          </a:xfrm>
        </p:spPr>
        <p:txBody>
          <a:bodyPr/>
          <a:lstStyle>
            <a:lvl3pPr>
              <a:spcBef>
                <a:spcPts val="100"/>
              </a:spcBef>
              <a:spcAft>
                <a:spcPts val="100"/>
              </a:spcAft>
              <a:defRPr/>
            </a:lvl3pPr>
            <a:lvl4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400">
                <a:solidFill>
                  <a:schemeClr val="tx2"/>
                </a:solidFill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C3CAA833-9901-410F-B9CF-BBA15AA951B6}" type="datetime1">
              <a:rPr lang="en-US" smtClean="0"/>
              <a:pPr/>
              <a:t>3/4/20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96060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1241424"/>
            <a:ext cx="4023360" cy="4890435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1241425"/>
            <a:ext cx="4023360" cy="4890434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25" name="Picture 24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261562"/>
            <a:ext cx="8239126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A1BD0CCE-4CF1-4416-AC93-D16C31AA61FF}" type="datetime1">
              <a:rPr lang="en-US" smtClean="0"/>
              <a:pPr/>
              <a:t>3/4/2014</a:t>
            </a:fld>
            <a:endParaRPr lang="en-US" dirty="0"/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7" name="Picture 16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1237786"/>
            <a:ext cx="4023360" cy="288816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1237786"/>
            <a:ext cx="4023360" cy="288816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25" name="Picture 24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5" y="4270916"/>
            <a:ext cx="8262938" cy="18949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261562"/>
            <a:ext cx="8239126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718DB286-FF79-4BB2-AAE8-04B104D0A731}" type="datetime1">
              <a:rPr lang="en-US" smtClean="0"/>
              <a:pPr/>
              <a:t>3/4/20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84008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9738" y="6431528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261562"/>
            <a:ext cx="8239126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BEC21B2A-3096-494E-9123-2989D3AEA588}" type="datetime1">
              <a:rPr lang="en-US" smtClean="0"/>
              <a:pPr/>
              <a:t>3/4/2014</a:t>
            </a:fld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2" name="Picture 11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630BBFFE-C5E9-46F1-9426-174141C09A9C}" type="datetime1">
              <a:rPr lang="en-US" smtClean="0"/>
              <a:pPr/>
              <a:t>3/4/2014</a:t>
            </a:fld>
            <a:endParaRPr lang="en-US" dirty="0"/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0" name="Picture 9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" name="Picture 9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5EC22BE8-83F9-4C18-8DAB-5390261EDED8}" type="datetime1">
              <a:rPr lang="en-US" smtClean="0"/>
              <a:pPr/>
              <a:t>3/4/2014</a:t>
            </a:fld>
            <a:endParaRPr lang="en-US" dirty="0"/>
          </a:p>
        </p:txBody>
      </p:sp>
      <p:pic>
        <p:nvPicPr>
          <p:cNvPr id="8" name="Picture 7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" name="Picture 9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D72DF531-3468-4E88-943B-AD2ADAEBFE57}" type="datetime1">
              <a:rPr lang="en-US" smtClean="0"/>
              <a:pPr/>
              <a:t>3/4/2014</a:t>
            </a:fld>
            <a:endParaRPr lang="en-US" dirty="0"/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" name="Picture 9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2E81D4E3-FF1C-447C-90A3-895A8C5392F1}" type="datetime1">
              <a:rPr lang="en-US" smtClean="0"/>
              <a:pPr/>
              <a:t>3/4/2014</a:t>
            </a:fld>
            <a:endParaRPr lang="en-US" dirty="0"/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261562"/>
            <a:ext cx="8229600" cy="85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280160"/>
            <a:ext cx="8229600" cy="4754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2"/>
            <a:endParaRPr lang="en-US" dirty="0" smtClean="0"/>
          </a:p>
        </p:txBody>
      </p:sp>
      <p:pic>
        <p:nvPicPr>
          <p:cNvPr id="6" name="Picture 5" descr="dell_gray_logo.png"/>
          <p:cNvPicPr>
            <a:picLocks noChangeAspect="1"/>
          </p:cNvPicPr>
          <p:nvPr/>
        </p:nvPicPr>
        <p:blipFill>
          <a:blip r:embed="rId16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896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496D0BA0-97A1-4BC8-8CF3-B745440C6559}" type="datetime1">
              <a:rPr lang="en-US" smtClean="0"/>
              <a:pPr/>
              <a:t>3/4/2014</a:t>
            </a:fld>
            <a:endParaRPr lang="en-US" dirty="0"/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6677914"/>
            <a:ext cx="9144000" cy="21005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33363" indent="-233363"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850" b="1" i="0" u="none" baseline="0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 i="0" u="none" baseline="0" dirty="0" smtClean="0">
              <a:solidFill>
                <a:srgbClr val="7F7F7F"/>
              </a:solidFill>
              <a:latin typeface="museo sans for dell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37" r:id="rId12"/>
    <p:sldLayoutId id="2147483877" r:id="rId13"/>
    <p:sldLayoutId id="2147483878" r:id="rId14"/>
  </p:sldLayoutIdLst>
  <p:transition spd="med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accent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accent1"/>
        </a:buClr>
        <a:buFont typeface="Arial" pitchFamily="34" charset="0"/>
        <a:buChar char="•"/>
        <a:defRPr sz="2000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4675" indent="-223838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accent1"/>
        </a:buClr>
        <a:buFont typeface="Museo Sans For Dell" pitchFamily="2" charset="0"/>
        <a:buChar char="–"/>
        <a:defRPr sz="18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909638" indent="-220663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accent1"/>
        </a:buClr>
        <a:buFont typeface="Museo Sans For Dell" pitchFamily="2" charset="0"/>
        <a:buChar char="›"/>
        <a:defRPr sz="16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accent1"/>
        </a:buClr>
        <a:buFont typeface="Museo For Dell 300" pitchFamily="50" charset="0"/>
        <a:buChar char="–"/>
        <a:defRPr sz="1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5904" y="250411"/>
            <a:ext cx="8239125" cy="85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0" y="1215483"/>
            <a:ext cx="8239125" cy="4934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5" name="Picture 4" descr="dell_white_logo.png"/>
          <p:cNvPicPr>
            <a:picLocks noChangeAspect="1"/>
          </p:cNvPicPr>
          <p:nvPr/>
        </p:nvPicPr>
        <p:blipFill>
          <a:blip r:embed="rId7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10" name="TextBox 3"/>
          <p:cNvSpPr txBox="1"/>
          <p:nvPr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A9FA7D95-E4BA-40E3-94B2-138BB5311E46}" type="datetime1">
              <a:rPr lang="en-US" smtClean="0"/>
              <a:pPr/>
              <a:t>3/4/2014</a:t>
            </a:fld>
            <a:endParaRPr lang="en-US" dirty="0"/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6677914"/>
            <a:ext cx="9144000" cy="21005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 i="0" u="none" baseline="0" dirty="0" err="1" smtClean="0">
              <a:solidFill>
                <a:srgbClr val="7F7F7F"/>
              </a:solidFill>
              <a:latin typeface="museo sans for dell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</p:sldLayoutIdLst>
  <p:transition spd="med">
    <p:wipe dir="r"/>
  </p:transition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tx2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sz="2000">
          <a:solidFill>
            <a:schemeClr val="tx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4675" indent="-223838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SzPct val="100000"/>
        <a:buFont typeface="Museo Sans For Dell" pitchFamily="2" charset="0"/>
        <a:buChar char="–"/>
        <a:defRPr sz="1800" baseline="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2pPr>
      <a:lvl3pPr marL="909638" indent="-220663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Font typeface="Museo Sans For Dell" pitchFamily="2" charset="0"/>
        <a:buChar char="›"/>
        <a:defRPr sz="160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5904" y="250411"/>
            <a:ext cx="8239125" cy="85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0" y="1215483"/>
            <a:ext cx="8239125" cy="4934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5" name="Picture 4" descr="dell_white_logo.png"/>
          <p:cNvPicPr>
            <a:picLocks noChangeAspect="1"/>
          </p:cNvPicPr>
          <p:nvPr/>
        </p:nvPicPr>
        <p:blipFill>
          <a:blip r:embed="rId7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10" name="TextBox 3"/>
          <p:cNvSpPr txBox="1"/>
          <p:nvPr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A9FA7D95-E4BA-40E3-94B2-138BB5311E46}" type="datetime1">
              <a:rPr lang="en-US" smtClean="0"/>
              <a:pPr/>
              <a:t>3/4/2014</a:t>
            </a:fld>
            <a:endParaRPr lang="en-US" dirty="0"/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6677914"/>
            <a:ext cx="9144000" cy="21005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 i="0" u="none" baseline="0" dirty="0" err="1" smtClean="0">
              <a:solidFill>
                <a:srgbClr val="7F7F7F"/>
              </a:solidFill>
              <a:latin typeface="museo sans for dell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</p:sldLayoutIdLst>
  <p:transition spd="med">
    <p:wipe dir="r"/>
  </p:transition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tx2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sz="2000">
          <a:solidFill>
            <a:schemeClr val="tx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4675" indent="-223838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SzPct val="100000"/>
        <a:buFont typeface="Museo Sans For Dell" pitchFamily="2" charset="0"/>
        <a:buChar char="–"/>
        <a:defRPr sz="1800" baseline="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2pPr>
      <a:lvl3pPr marL="909638" indent="-220663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Font typeface="Museo Sans For Dell" pitchFamily="2" charset="0"/>
        <a:buChar char="›"/>
        <a:defRPr sz="160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youtube.com/watch?v=N3VOR31Hrn4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youtube.com/watch?v=-5-3t4RAaio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6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5.xml"/><Relationship Id="rId7" Type="http://schemas.openxmlformats.org/officeDocument/2006/relationships/diagramData" Target="../diagrams/data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8.jpeg"/><Relationship Id="rId11" Type="http://schemas.microsoft.com/office/2007/relationships/diagramDrawing" Target="../diagrams/drawing4.xml"/><Relationship Id="rId5" Type="http://schemas.openxmlformats.org/officeDocument/2006/relationships/image" Target="../media/image17.jpeg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14.xml"/><Relationship Id="rId9" Type="http://schemas.openxmlformats.org/officeDocument/2006/relationships/diagramQuickStyle" Target="../diagrams/quickStyle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ll internationalizatio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800" dirty="0"/>
              <a:t>	</a:t>
            </a:r>
            <a:r>
              <a:rPr lang="en-US" sz="2800" dirty="0" smtClean="0"/>
              <a:t>		1984 to 2004</a:t>
            </a:r>
            <a:endParaRPr lang="en-US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5791201" y="4114800"/>
            <a:ext cx="2442881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3038" indent="-173038" algn="r" eaLnBrk="0" hangingPunct="0">
              <a:lnSpc>
                <a:spcPct val="95000"/>
              </a:lnSpc>
              <a:spcBef>
                <a:spcPct val="30000"/>
              </a:spcBef>
              <a:buClr>
                <a:schemeClr val="accent1"/>
              </a:buClr>
              <a:defRPr/>
            </a:pPr>
            <a:endParaRPr lang="en-US" sz="1400" kern="0" dirty="0" smtClean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48734" y="5257590"/>
            <a:ext cx="8280399" cy="800101"/>
          </a:xfrm>
        </p:spPr>
        <p:txBody>
          <a:bodyPr/>
          <a:lstStyle/>
          <a:p>
            <a:r>
              <a:rPr lang="en-US" dirty="0" smtClean="0"/>
              <a:t>Ivan Mitringa</a:t>
            </a:r>
            <a:endParaRPr lang="cs-CZ" dirty="0" smtClean="0"/>
          </a:p>
          <a:p>
            <a:r>
              <a:rPr lang="cs-CZ" dirty="0" smtClean="0"/>
              <a:t>Lukas Stecak</a:t>
            </a:r>
            <a:r>
              <a:rPr lang="en-US" dirty="0" smtClean="0"/>
              <a:t>						03/03/2014</a:t>
            </a:r>
          </a:p>
        </p:txBody>
      </p:sp>
    </p:spTree>
    <p:extLst>
      <p:ext uri="{BB962C8B-B14F-4D97-AF65-F5344CB8AC3E}">
        <p14:creationId xmlns:p14="http://schemas.microsoft.com/office/powerpoint/2010/main" val="345120692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Users\Lukas_Stecak\Desktop\FDP\Internacionalizacia\world  1994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79" y="1808317"/>
            <a:ext cx="7367592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947177"/>
            <a:ext cx="2598420" cy="725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chemeClr val="bg2"/>
                </a:solidFill>
                <a:latin typeface="+mj-lt"/>
              </a:rPr>
              <a:t>Legend: excuse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0070C0"/>
                </a:solidFill>
                <a:latin typeface="+mj-lt"/>
              </a:rPr>
              <a:t>HQ/Subsidiary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C00000"/>
                </a:solidFill>
                <a:latin typeface="+mj-lt"/>
              </a:rPr>
              <a:t>Manufacture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190500" y="2971800"/>
            <a:ext cx="784860" cy="579119"/>
          </a:xfrm>
          <a:prstGeom prst="wedgeRoundRectCallout">
            <a:avLst>
              <a:gd name="adj1" fmla="val 159949"/>
              <a:gd name="adj2" fmla="val -40914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orld HQ in Austin, Texas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90500" y="3696651"/>
            <a:ext cx="784860" cy="479735"/>
          </a:xfrm>
          <a:prstGeom prst="wedgeRoundRectCallout">
            <a:avLst>
              <a:gd name="adj1" fmla="val 161776"/>
              <a:gd name="adj2" fmla="val -1903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Austin, Texas</a:t>
            </a:r>
          </a:p>
        </p:txBody>
      </p:sp>
      <p:sp>
        <p:nvSpPr>
          <p:cNvPr id="4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uberty (1991-1995)</a:t>
            </a:r>
            <a:endParaRPr lang="en-US" sz="28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3596640" y="1192769"/>
            <a:ext cx="784860" cy="479735"/>
          </a:xfrm>
          <a:prstGeom prst="wedgeRoundRectCallout">
            <a:avLst>
              <a:gd name="adj1" fmla="val -34076"/>
              <a:gd name="adj2" fmla="val 222625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Limerick, Ireland</a:t>
            </a:r>
          </a:p>
        </p:txBody>
      </p:sp>
      <p:sp>
        <p:nvSpPr>
          <p:cNvPr id="21" name="Rounded Rectangular Callout 20"/>
          <p:cNvSpPr/>
          <p:nvPr/>
        </p:nvSpPr>
        <p:spPr>
          <a:xfrm>
            <a:off x="5448300" y="1200389"/>
            <a:ext cx="899160" cy="479735"/>
          </a:xfrm>
          <a:prstGeom prst="wedgeRoundRectCallout">
            <a:avLst>
              <a:gd name="adj1" fmla="val -206368"/>
              <a:gd name="adj2" fmla="val 211506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enmark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6461760" y="1135381"/>
            <a:ext cx="899160" cy="544743"/>
          </a:xfrm>
          <a:prstGeom prst="wedgeRoundRectCallout">
            <a:avLst>
              <a:gd name="adj1" fmla="val -64844"/>
              <a:gd name="adj2" fmla="val 342413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92500" lnSpcReduction="1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al HQ Hong Kong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5181600" y="5130356"/>
            <a:ext cx="899160" cy="479735"/>
          </a:xfrm>
          <a:prstGeom prst="wedgeRoundRectCallout">
            <a:avLst>
              <a:gd name="adj1" fmla="val 59733"/>
              <a:gd name="adj2" fmla="val -322189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ingapore</a:t>
            </a:r>
          </a:p>
        </p:txBody>
      </p:sp>
      <p:sp>
        <p:nvSpPr>
          <p:cNvPr id="24" name="Rounded Rectangular Callout 23"/>
          <p:cNvSpPr/>
          <p:nvPr/>
        </p:nvSpPr>
        <p:spPr>
          <a:xfrm>
            <a:off x="7513320" y="1200389"/>
            <a:ext cx="899160" cy="479735"/>
          </a:xfrm>
          <a:prstGeom prst="wedgeRoundRectCallout">
            <a:avLst>
              <a:gd name="adj1" fmla="val -133489"/>
              <a:gd name="adj2" fmla="val 314751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925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al HQ JAPAN</a:t>
            </a:r>
          </a:p>
        </p:txBody>
      </p:sp>
      <p:sp>
        <p:nvSpPr>
          <p:cNvPr id="25" name="Rounded Rectangular Callout 24"/>
          <p:cNvSpPr/>
          <p:nvPr/>
        </p:nvSpPr>
        <p:spPr>
          <a:xfrm>
            <a:off x="2979420" y="5130355"/>
            <a:ext cx="1009650" cy="479735"/>
          </a:xfrm>
          <a:prstGeom prst="wedgeRoundRectCallout">
            <a:avLst>
              <a:gd name="adj1" fmla="val 63970"/>
              <a:gd name="adj2" fmla="val -647806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witzerland</a:t>
            </a:r>
          </a:p>
        </p:txBody>
      </p:sp>
      <p:sp>
        <p:nvSpPr>
          <p:cNvPr id="26" name="Rounded Rectangular Callout 25"/>
          <p:cNvSpPr/>
          <p:nvPr/>
        </p:nvSpPr>
        <p:spPr>
          <a:xfrm>
            <a:off x="6797040" y="5130356"/>
            <a:ext cx="899160" cy="479735"/>
          </a:xfrm>
          <a:prstGeom prst="wedgeRoundRectCallout">
            <a:avLst>
              <a:gd name="adj1" fmla="val -27555"/>
              <a:gd name="adj2" fmla="val -163352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ustralia</a:t>
            </a:r>
          </a:p>
        </p:txBody>
      </p:sp>
      <p:sp>
        <p:nvSpPr>
          <p:cNvPr id="27" name="Rounded Rectangular Callout 26"/>
          <p:cNvSpPr/>
          <p:nvPr/>
        </p:nvSpPr>
        <p:spPr>
          <a:xfrm>
            <a:off x="7955280" y="2781624"/>
            <a:ext cx="899160" cy="479735"/>
          </a:xfrm>
          <a:prstGeom prst="wedgeRoundRectCallout">
            <a:avLst>
              <a:gd name="adj1" fmla="val -238574"/>
              <a:gd name="adj2" fmla="val 73318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aiwan</a:t>
            </a:r>
          </a:p>
        </p:txBody>
      </p:sp>
      <p:sp>
        <p:nvSpPr>
          <p:cNvPr id="29" name="Rounded Rectangular Callout 28"/>
          <p:cNvSpPr/>
          <p:nvPr/>
        </p:nvSpPr>
        <p:spPr>
          <a:xfrm>
            <a:off x="4450080" y="1135381"/>
            <a:ext cx="899160" cy="544744"/>
          </a:xfrm>
          <a:prstGeom prst="wedgeRoundRectCallout">
            <a:avLst>
              <a:gd name="adj1" fmla="val -121622"/>
              <a:gd name="adj2" fmla="val 206217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92500" lnSpcReduction="1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al HQ United Kingdom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7955280" y="3803028"/>
            <a:ext cx="899160" cy="479735"/>
          </a:xfrm>
          <a:prstGeom prst="wedgeRoundRectCallout">
            <a:avLst>
              <a:gd name="adj1" fmla="val -253828"/>
              <a:gd name="adj2" fmla="val -60106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laysi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43839" y="265215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4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526279" y="751208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7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596640" y="82343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22720" y="76604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012430" y="2412292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3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558790" y="83105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020050" y="3452451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570470" y="83542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854190" y="5586050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091815" y="5603060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1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286374" y="5610091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</p:spTree>
    <p:extLst>
      <p:ext uri="{BB962C8B-B14F-4D97-AF65-F5344CB8AC3E}">
        <p14:creationId xmlns:p14="http://schemas.microsoft.com/office/powerpoint/2010/main" val="367692606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239126" cy="485198"/>
          </a:xfrm>
        </p:spPr>
        <p:txBody>
          <a:bodyPr/>
          <a:lstStyle/>
          <a:p>
            <a:r>
              <a:rPr lang="en-US" sz="2800" dirty="0" smtClean="0"/>
              <a:t>Puberty (1991-1995)</a:t>
            </a:r>
            <a:endParaRPr lang="en-US" sz="2800" dirty="0"/>
          </a:p>
        </p:txBody>
      </p:sp>
      <p:sp>
        <p:nvSpPr>
          <p:cNvPr id="7" name="Freeform 6"/>
          <p:cNvSpPr/>
          <p:nvPr/>
        </p:nvSpPr>
        <p:spPr>
          <a:xfrm>
            <a:off x="5044440" y="1752600"/>
            <a:ext cx="2819400" cy="2880360"/>
          </a:xfrm>
          <a:custGeom>
            <a:avLst/>
            <a:gdLst>
              <a:gd name="connsiteX0" fmla="*/ 0 w 2819400"/>
              <a:gd name="connsiteY0" fmla="*/ 1524000 h 2880360"/>
              <a:gd name="connsiteX1" fmla="*/ 297180 w 2819400"/>
              <a:gd name="connsiteY1" fmla="*/ 129540 h 2880360"/>
              <a:gd name="connsiteX2" fmla="*/ 2034540 w 2819400"/>
              <a:gd name="connsiteY2" fmla="*/ 0 h 2880360"/>
              <a:gd name="connsiteX3" fmla="*/ 2819400 w 2819400"/>
              <a:gd name="connsiteY3" fmla="*/ 1706880 h 2880360"/>
              <a:gd name="connsiteX4" fmla="*/ 1127760 w 2819400"/>
              <a:gd name="connsiteY4" fmla="*/ 2880360 h 288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19400" h="2880360">
                <a:moveTo>
                  <a:pt x="0" y="1524000"/>
                </a:moveTo>
                <a:lnTo>
                  <a:pt x="297180" y="129540"/>
                </a:lnTo>
                <a:lnTo>
                  <a:pt x="2034540" y="0"/>
                </a:lnTo>
                <a:lnTo>
                  <a:pt x="2819400" y="1706880"/>
                </a:lnTo>
                <a:lnTo>
                  <a:pt x="1127760" y="2880360"/>
                </a:ln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11480" y="922020"/>
            <a:ext cx="3200400" cy="5057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1 - Dell entered the retail channel</a:t>
            </a:r>
          </a:p>
          <a:p>
            <a:pPr marL="690563" lvl="1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CompUSA</a:t>
            </a:r>
          </a:p>
          <a:p>
            <a:pPr marL="690563" lvl="1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Staples</a:t>
            </a:r>
          </a:p>
          <a:p>
            <a:pPr marL="690563" lvl="1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Best Buy</a:t>
            </a:r>
          </a:p>
          <a:p>
            <a:pPr marL="690563" lvl="1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PC World, etc.</a:t>
            </a:r>
          </a:p>
          <a:p>
            <a:pPr marL="233363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Reducing supplier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- First steps in Asia-Pacific-Japan (APJ)</a:t>
            </a: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4- Dell quit the retail channel and focus only on Direct model</a:t>
            </a:r>
            <a:endParaRPr lang="en-US" sz="20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1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330" y="1100610"/>
            <a:ext cx="5292539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reeform 4"/>
          <p:cNvSpPr/>
          <p:nvPr/>
        </p:nvSpPr>
        <p:spPr>
          <a:xfrm>
            <a:off x="4808220" y="1965960"/>
            <a:ext cx="571500" cy="1668780"/>
          </a:xfrm>
          <a:custGeom>
            <a:avLst/>
            <a:gdLst>
              <a:gd name="connsiteX0" fmla="*/ 0 w 571500"/>
              <a:gd name="connsiteY0" fmla="*/ 1668780 h 1668780"/>
              <a:gd name="connsiteX1" fmla="*/ 0 w 571500"/>
              <a:gd name="connsiteY1" fmla="*/ 1668780 h 1668780"/>
              <a:gd name="connsiteX2" fmla="*/ 30480 w 571500"/>
              <a:gd name="connsiteY2" fmla="*/ 1600200 h 1668780"/>
              <a:gd name="connsiteX3" fmla="*/ 38100 w 571500"/>
              <a:gd name="connsiteY3" fmla="*/ 1562100 h 1668780"/>
              <a:gd name="connsiteX4" fmla="*/ 68580 w 571500"/>
              <a:gd name="connsiteY4" fmla="*/ 1501140 h 1668780"/>
              <a:gd name="connsiteX5" fmla="*/ 83820 w 571500"/>
              <a:gd name="connsiteY5" fmla="*/ 1447800 h 1668780"/>
              <a:gd name="connsiteX6" fmla="*/ 121920 w 571500"/>
              <a:gd name="connsiteY6" fmla="*/ 1348740 h 1668780"/>
              <a:gd name="connsiteX7" fmla="*/ 160020 w 571500"/>
              <a:gd name="connsiteY7" fmla="*/ 1249680 h 1668780"/>
              <a:gd name="connsiteX8" fmla="*/ 228600 w 571500"/>
              <a:gd name="connsiteY8" fmla="*/ 1089660 h 1668780"/>
              <a:gd name="connsiteX9" fmla="*/ 266700 w 571500"/>
              <a:gd name="connsiteY9" fmla="*/ 982980 h 1668780"/>
              <a:gd name="connsiteX10" fmla="*/ 281940 w 571500"/>
              <a:gd name="connsiteY10" fmla="*/ 937260 h 1668780"/>
              <a:gd name="connsiteX11" fmla="*/ 327660 w 571500"/>
              <a:gd name="connsiteY11" fmla="*/ 853440 h 1668780"/>
              <a:gd name="connsiteX12" fmla="*/ 335280 w 571500"/>
              <a:gd name="connsiteY12" fmla="*/ 830580 h 1668780"/>
              <a:gd name="connsiteX13" fmla="*/ 350520 w 571500"/>
              <a:gd name="connsiteY13" fmla="*/ 807720 h 1668780"/>
              <a:gd name="connsiteX14" fmla="*/ 365760 w 571500"/>
              <a:gd name="connsiteY14" fmla="*/ 777240 h 1668780"/>
              <a:gd name="connsiteX15" fmla="*/ 403860 w 571500"/>
              <a:gd name="connsiteY15" fmla="*/ 716280 h 1668780"/>
              <a:gd name="connsiteX16" fmla="*/ 419100 w 571500"/>
              <a:gd name="connsiteY16" fmla="*/ 678180 h 1668780"/>
              <a:gd name="connsiteX17" fmla="*/ 449580 w 571500"/>
              <a:gd name="connsiteY17" fmla="*/ 632460 h 1668780"/>
              <a:gd name="connsiteX18" fmla="*/ 457200 w 571500"/>
              <a:gd name="connsiteY18" fmla="*/ 601980 h 1668780"/>
              <a:gd name="connsiteX19" fmla="*/ 472440 w 571500"/>
              <a:gd name="connsiteY19" fmla="*/ 579120 h 1668780"/>
              <a:gd name="connsiteX20" fmla="*/ 487680 w 571500"/>
              <a:gd name="connsiteY20" fmla="*/ 548640 h 1668780"/>
              <a:gd name="connsiteX21" fmla="*/ 510540 w 571500"/>
              <a:gd name="connsiteY21" fmla="*/ 495300 h 1668780"/>
              <a:gd name="connsiteX22" fmla="*/ 518160 w 571500"/>
              <a:gd name="connsiteY22" fmla="*/ 457200 h 1668780"/>
              <a:gd name="connsiteX23" fmla="*/ 548640 w 571500"/>
              <a:gd name="connsiteY23" fmla="*/ 381000 h 1668780"/>
              <a:gd name="connsiteX24" fmla="*/ 563880 w 571500"/>
              <a:gd name="connsiteY24" fmla="*/ 350520 h 1668780"/>
              <a:gd name="connsiteX25" fmla="*/ 571500 w 571500"/>
              <a:gd name="connsiteY25" fmla="*/ 320040 h 1668780"/>
              <a:gd name="connsiteX26" fmla="*/ 548640 w 571500"/>
              <a:gd name="connsiteY26" fmla="*/ 236220 h 1668780"/>
              <a:gd name="connsiteX27" fmla="*/ 518160 w 571500"/>
              <a:gd name="connsiteY27" fmla="*/ 160020 h 1668780"/>
              <a:gd name="connsiteX28" fmla="*/ 472440 w 571500"/>
              <a:gd name="connsiteY28" fmla="*/ 129540 h 1668780"/>
              <a:gd name="connsiteX29" fmla="*/ 449580 w 571500"/>
              <a:gd name="connsiteY29" fmla="*/ 106680 h 1668780"/>
              <a:gd name="connsiteX30" fmla="*/ 449580 w 571500"/>
              <a:gd name="connsiteY30" fmla="*/ 22860 h 1668780"/>
              <a:gd name="connsiteX31" fmla="*/ 464820 w 571500"/>
              <a:gd name="connsiteY31" fmla="*/ 0 h 166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71500" h="1668780">
                <a:moveTo>
                  <a:pt x="0" y="1668780"/>
                </a:moveTo>
                <a:lnTo>
                  <a:pt x="0" y="1668780"/>
                </a:lnTo>
                <a:cubicBezTo>
                  <a:pt x="10160" y="1645920"/>
                  <a:pt x="22066" y="1623759"/>
                  <a:pt x="30480" y="1600200"/>
                </a:cubicBezTo>
                <a:cubicBezTo>
                  <a:pt x="34836" y="1588003"/>
                  <a:pt x="33451" y="1574188"/>
                  <a:pt x="38100" y="1562100"/>
                </a:cubicBezTo>
                <a:cubicBezTo>
                  <a:pt x="46255" y="1540896"/>
                  <a:pt x="60143" y="1522234"/>
                  <a:pt x="68580" y="1501140"/>
                </a:cubicBezTo>
                <a:cubicBezTo>
                  <a:pt x="75448" y="1483971"/>
                  <a:pt x="77711" y="1465253"/>
                  <a:pt x="83820" y="1447800"/>
                </a:cubicBezTo>
                <a:cubicBezTo>
                  <a:pt x="95507" y="1414408"/>
                  <a:pt x="109220" y="1381760"/>
                  <a:pt x="121920" y="1348740"/>
                </a:cubicBezTo>
                <a:cubicBezTo>
                  <a:pt x="135928" y="1264689"/>
                  <a:pt x="117869" y="1340466"/>
                  <a:pt x="160020" y="1249680"/>
                </a:cubicBezTo>
                <a:cubicBezTo>
                  <a:pt x="184458" y="1197044"/>
                  <a:pt x="205740" y="1143000"/>
                  <a:pt x="228600" y="1089660"/>
                </a:cubicBezTo>
                <a:cubicBezTo>
                  <a:pt x="248431" y="970675"/>
                  <a:pt x="216847" y="1132538"/>
                  <a:pt x="266700" y="982980"/>
                </a:cubicBezTo>
                <a:cubicBezTo>
                  <a:pt x="271780" y="967740"/>
                  <a:pt x="275974" y="952175"/>
                  <a:pt x="281940" y="937260"/>
                </a:cubicBezTo>
                <a:cubicBezTo>
                  <a:pt x="291957" y="912218"/>
                  <a:pt x="317471" y="873819"/>
                  <a:pt x="327660" y="853440"/>
                </a:cubicBezTo>
                <a:cubicBezTo>
                  <a:pt x="331252" y="846256"/>
                  <a:pt x="331688" y="837764"/>
                  <a:pt x="335280" y="830580"/>
                </a:cubicBezTo>
                <a:cubicBezTo>
                  <a:pt x="339376" y="822389"/>
                  <a:pt x="345976" y="815671"/>
                  <a:pt x="350520" y="807720"/>
                </a:cubicBezTo>
                <a:cubicBezTo>
                  <a:pt x="356156" y="797857"/>
                  <a:pt x="360124" y="787103"/>
                  <a:pt x="365760" y="777240"/>
                </a:cubicBezTo>
                <a:cubicBezTo>
                  <a:pt x="389939" y="734927"/>
                  <a:pt x="375118" y="773764"/>
                  <a:pt x="403860" y="716280"/>
                </a:cubicBezTo>
                <a:cubicBezTo>
                  <a:pt x="409977" y="704046"/>
                  <a:pt x="412550" y="690188"/>
                  <a:pt x="419100" y="678180"/>
                </a:cubicBezTo>
                <a:cubicBezTo>
                  <a:pt x="427871" y="662100"/>
                  <a:pt x="449580" y="632460"/>
                  <a:pt x="449580" y="632460"/>
                </a:cubicBezTo>
                <a:cubicBezTo>
                  <a:pt x="452120" y="622300"/>
                  <a:pt x="453075" y="611606"/>
                  <a:pt x="457200" y="601980"/>
                </a:cubicBezTo>
                <a:cubicBezTo>
                  <a:pt x="460808" y="593562"/>
                  <a:pt x="467896" y="587071"/>
                  <a:pt x="472440" y="579120"/>
                </a:cubicBezTo>
                <a:cubicBezTo>
                  <a:pt x="478076" y="569257"/>
                  <a:pt x="483205" y="559081"/>
                  <a:pt x="487680" y="548640"/>
                </a:cubicBezTo>
                <a:cubicBezTo>
                  <a:pt x="521316" y="470155"/>
                  <a:pt x="459995" y="596389"/>
                  <a:pt x="510540" y="495300"/>
                </a:cubicBezTo>
                <a:cubicBezTo>
                  <a:pt x="513080" y="482600"/>
                  <a:pt x="514064" y="469487"/>
                  <a:pt x="518160" y="457200"/>
                </a:cubicBezTo>
                <a:cubicBezTo>
                  <a:pt x="526811" y="431247"/>
                  <a:pt x="536406" y="405469"/>
                  <a:pt x="548640" y="381000"/>
                </a:cubicBezTo>
                <a:cubicBezTo>
                  <a:pt x="553720" y="370840"/>
                  <a:pt x="559892" y="361156"/>
                  <a:pt x="563880" y="350520"/>
                </a:cubicBezTo>
                <a:cubicBezTo>
                  <a:pt x="567557" y="340714"/>
                  <a:pt x="568960" y="330200"/>
                  <a:pt x="571500" y="320040"/>
                </a:cubicBezTo>
                <a:cubicBezTo>
                  <a:pt x="554986" y="187929"/>
                  <a:pt x="578709" y="303875"/>
                  <a:pt x="548640" y="236220"/>
                </a:cubicBezTo>
                <a:cubicBezTo>
                  <a:pt x="543879" y="225507"/>
                  <a:pt x="530635" y="172495"/>
                  <a:pt x="518160" y="160020"/>
                </a:cubicBezTo>
                <a:cubicBezTo>
                  <a:pt x="505208" y="147068"/>
                  <a:pt x="485392" y="142492"/>
                  <a:pt x="472440" y="129540"/>
                </a:cubicBezTo>
                <a:lnTo>
                  <a:pt x="449580" y="106680"/>
                </a:lnTo>
                <a:cubicBezTo>
                  <a:pt x="437681" y="70983"/>
                  <a:pt x="435363" y="74988"/>
                  <a:pt x="449580" y="22860"/>
                </a:cubicBezTo>
                <a:cubicBezTo>
                  <a:pt x="451990" y="14025"/>
                  <a:pt x="464820" y="0"/>
                  <a:pt x="464820" y="0"/>
                </a:cubicBez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/>
        </p:nvSpPr>
        <p:spPr>
          <a:xfrm>
            <a:off x="4792980" y="1813560"/>
            <a:ext cx="2567940" cy="2758440"/>
          </a:xfrm>
          <a:custGeom>
            <a:avLst/>
            <a:gdLst>
              <a:gd name="connsiteX0" fmla="*/ 0 w 2567940"/>
              <a:gd name="connsiteY0" fmla="*/ 1798320 h 2758440"/>
              <a:gd name="connsiteX1" fmla="*/ 502920 w 2567940"/>
              <a:gd name="connsiteY1" fmla="*/ 175260 h 2758440"/>
              <a:gd name="connsiteX2" fmla="*/ 2468880 w 2567940"/>
              <a:gd name="connsiteY2" fmla="*/ 0 h 2758440"/>
              <a:gd name="connsiteX3" fmla="*/ 2567940 w 2567940"/>
              <a:gd name="connsiteY3" fmla="*/ 1729740 h 2758440"/>
              <a:gd name="connsiteX4" fmla="*/ 1432560 w 2567940"/>
              <a:gd name="connsiteY4" fmla="*/ 2758440 h 2758440"/>
              <a:gd name="connsiteX5" fmla="*/ 0 w 2567940"/>
              <a:gd name="connsiteY5" fmla="*/ 1798320 h 2758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7940" h="2758440">
                <a:moveTo>
                  <a:pt x="0" y="1798320"/>
                </a:moveTo>
                <a:lnTo>
                  <a:pt x="502920" y="175260"/>
                </a:lnTo>
                <a:lnTo>
                  <a:pt x="2468880" y="0"/>
                </a:lnTo>
                <a:lnTo>
                  <a:pt x="2567940" y="1729740"/>
                </a:lnTo>
                <a:lnTo>
                  <a:pt x="1432560" y="2758440"/>
                </a:lnTo>
                <a:lnTo>
                  <a:pt x="0" y="179832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 w="28575">
            <a:solidFill>
              <a:schemeClr val="bg1"/>
            </a:solidFill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3223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Diagram 23"/>
          <p:cNvGraphicFramePr/>
          <p:nvPr>
            <p:extLst>
              <p:ext uri="{D42A27DB-BD31-4B8C-83A1-F6EECF244321}">
                <p14:modId xmlns:p14="http://schemas.microsoft.com/office/powerpoint/2010/main" val="3747677200"/>
              </p:ext>
            </p:extLst>
          </p:nvPr>
        </p:nvGraphicFramePr>
        <p:xfrm>
          <a:off x="554181" y="1883853"/>
          <a:ext cx="7970983" cy="3536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1" name="Plus 20"/>
          <p:cNvSpPr/>
          <p:nvPr/>
        </p:nvSpPr>
        <p:spPr>
          <a:xfrm>
            <a:off x="2130135" y="2104699"/>
            <a:ext cx="365125" cy="328424"/>
          </a:xfrm>
          <a:prstGeom prst="mathPlus">
            <a:avLst/>
          </a:prstGeom>
          <a:solidFill>
            <a:schemeClr val="tx2"/>
          </a:solidFill>
          <a:ln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Minus 21"/>
          <p:cNvSpPr/>
          <p:nvPr/>
        </p:nvSpPr>
        <p:spPr>
          <a:xfrm>
            <a:off x="6416098" y="2171933"/>
            <a:ext cx="361950" cy="347474"/>
          </a:xfrm>
          <a:prstGeom prst="mathMinus">
            <a:avLst/>
          </a:prstGeom>
          <a:solidFill>
            <a:schemeClr val="tx2"/>
          </a:solidFill>
          <a:ln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5" name="Rectangle 24"/>
          <p:cNvSpPr/>
          <p:nvPr/>
        </p:nvSpPr>
        <p:spPr>
          <a:xfrm>
            <a:off x="544946" y="914426"/>
            <a:ext cx="7980218" cy="729673"/>
          </a:xfrm>
          <a:prstGeom prst="rect">
            <a:avLst/>
          </a:prstGeom>
          <a:solidFill>
            <a:srgbClr val="7AB800"/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3600" dirty="0" smtClean="0">
                <a:solidFill>
                  <a:schemeClr val="tx2"/>
                </a:solidFill>
                <a:latin typeface="+mn-lt"/>
              </a:rPr>
              <a:t>Ind</a:t>
            </a:r>
            <a:r>
              <a:rPr lang="en-US" sz="3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irect model</a:t>
            </a: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15492" y="261562"/>
            <a:ext cx="8239126" cy="48519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sz="2800" smtClean="0"/>
              <a:t>Puberty (1991-1995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085460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Lukas_Stecak\Desktop\FDP\Internacionalizacia\world  1995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808317"/>
            <a:ext cx="7367592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947177"/>
            <a:ext cx="2598420" cy="725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chemeClr val="bg2"/>
                </a:solidFill>
                <a:latin typeface="+mj-lt"/>
              </a:rPr>
              <a:t>Legend: excuse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0070C0"/>
                </a:solidFill>
                <a:latin typeface="+mj-lt"/>
              </a:rPr>
              <a:t>HQ/Subsidiary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C00000"/>
                </a:solidFill>
                <a:latin typeface="+mj-lt"/>
              </a:rPr>
              <a:t>Manufacture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190500" y="3071184"/>
            <a:ext cx="784860" cy="479735"/>
          </a:xfrm>
          <a:prstGeom prst="wedgeRoundRectCallout">
            <a:avLst>
              <a:gd name="adj1" fmla="val 165774"/>
              <a:gd name="adj2" fmla="val -63283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HQ in Austin, Texas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90500" y="3696651"/>
            <a:ext cx="784860" cy="479735"/>
          </a:xfrm>
          <a:prstGeom prst="wedgeRoundRectCallout">
            <a:avLst>
              <a:gd name="adj1" fmla="val 161776"/>
              <a:gd name="adj2" fmla="val -1903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Austin, Texas</a:t>
            </a:r>
          </a:p>
        </p:txBody>
      </p:sp>
      <p:sp>
        <p:nvSpPr>
          <p:cNvPr id="4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Internet era and exceptional growth (1995-2000)</a:t>
            </a:r>
            <a:endParaRPr lang="en-US" sz="28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198171" y="2560019"/>
            <a:ext cx="851535" cy="534026"/>
          </a:xfrm>
          <a:prstGeom prst="wedgeRoundRectCallout">
            <a:avLst>
              <a:gd name="adj1" fmla="val -295706"/>
              <a:gd name="adj2" fmla="val 175537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Penang, Malaysia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3596640" y="1192769"/>
            <a:ext cx="784860" cy="479735"/>
          </a:xfrm>
          <a:prstGeom prst="wedgeRoundRectCallout">
            <a:avLst>
              <a:gd name="adj1" fmla="val -34076"/>
              <a:gd name="adj2" fmla="val 222625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Limerick, Irelan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0500" y="2724713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26746" y="219068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6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96640" y="83105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15" name="Rounded Rectangular Callout 14"/>
          <p:cNvSpPr/>
          <p:nvPr/>
        </p:nvSpPr>
        <p:spPr>
          <a:xfrm>
            <a:off x="6141720" y="1200389"/>
            <a:ext cx="784860" cy="479735"/>
          </a:xfrm>
          <a:prstGeom prst="wedgeRoundRectCallout">
            <a:avLst>
              <a:gd name="adj1" fmla="val -15630"/>
              <a:gd name="adj2" fmla="val 3830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Xiamen, Chin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34100" y="831534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8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190500" y="5447106"/>
            <a:ext cx="784860" cy="674131"/>
          </a:xfrm>
          <a:prstGeom prst="wedgeRoundRectCallout">
            <a:avLst>
              <a:gd name="adj1" fmla="val 274660"/>
              <a:gd name="adj2" fmla="val -174770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Eldorado do </a:t>
            </a:r>
            <a:r>
              <a:rPr lang="en-US" sz="1000" kern="120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ul</a:t>
            </a:r>
            <a:r>
              <a: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Brazi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0500" y="5077774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9</a:t>
            </a:r>
          </a:p>
        </p:txBody>
      </p:sp>
      <p:sp>
        <p:nvSpPr>
          <p:cNvPr id="19" name="Rounded Rectangular Callout 18"/>
          <p:cNvSpPr/>
          <p:nvPr/>
        </p:nvSpPr>
        <p:spPr>
          <a:xfrm>
            <a:off x="2026920" y="1112521"/>
            <a:ext cx="1333500" cy="569032"/>
          </a:xfrm>
          <a:prstGeom prst="wedgeRoundRectCallout">
            <a:avLst>
              <a:gd name="adj1" fmla="val -47478"/>
              <a:gd name="adj2" fmla="val 254178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Nashville and Lebanon, Tennesse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01240" y="74318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9</a:t>
            </a:r>
          </a:p>
        </p:txBody>
      </p:sp>
    </p:spTree>
    <p:extLst>
      <p:ext uri="{BB962C8B-B14F-4D97-AF65-F5344CB8AC3E}">
        <p14:creationId xmlns:p14="http://schemas.microsoft.com/office/powerpoint/2010/main" val="186172657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420916" cy="424238"/>
          </a:xfrm>
        </p:spPr>
        <p:txBody>
          <a:bodyPr/>
          <a:lstStyle/>
          <a:p>
            <a:r>
              <a:rPr lang="en-US" sz="2800" dirty="0" smtClean="0"/>
              <a:t>Internet era and exceptional growth (1995-2000)</a:t>
            </a:r>
            <a:endParaRPr lang="en-US" sz="2800" dirty="0"/>
          </a:p>
        </p:txBody>
      </p:sp>
      <p:pic>
        <p:nvPicPr>
          <p:cNvPr id="1026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5800" y="842390"/>
            <a:ext cx="5292539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9841" y="719610"/>
            <a:ext cx="4189752" cy="7253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5 – Dell.com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4 – 1999 – Sales grew at annual rate 49.5% from $3.5B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     to $25B</a:t>
            </a:r>
          </a:p>
          <a:p>
            <a:pPr lvl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>
                <a:solidFill>
                  <a:schemeClr val="bg2"/>
                </a:solidFill>
                <a:latin typeface="+mn-lt"/>
              </a:rPr>
              <a:t> </a:t>
            </a: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	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Establishing factories around the world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Decrease of direct cost 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      by 15% 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Growth in Asia-Pacific-Japan and Latin America</a:t>
            </a: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800100" lvl="1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800100" lvl="1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617720" y="1630680"/>
            <a:ext cx="480060" cy="1783080"/>
          </a:xfrm>
          <a:custGeom>
            <a:avLst/>
            <a:gdLst>
              <a:gd name="connsiteX0" fmla="*/ 0 w 480060"/>
              <a:gd name="connsiteY0" fmla="*/ 1783080 h 1783080"/>
              <a:gd name="connsiteX1" fmla="*/ 0 w 480060"/>
              <a:gd name="connsiteY1" fmla="*/ 1783080 h 1783080"/>
              <a:gd name="connsiteX2" fmla="*/ 99060 w 480060"/>
              <a:gd name="connsiteY2" fmla="*/ 1501140 h 1783080"/>
              <a:gd name="connsiteX3" fmla="*/ 175260 w 480060"/>
              <a:gd name="connsiteY3" fmla="*/ 1287780 h 1783080"/>
              <a:gd name="connsiteX4" fmla="*/ 213360 w 480060"/>
              <a:gd name="connsiteY4" fmla="*/ 1135380 h 1783080"/>
              <a:gd name="connsiteX5" fmla="*/ 243840 w 480060"/>
              <a:gd name="connsiteY5" fmla="*/ 1028700 h 1783080"/>
              <a:gd name="connsiteX6" fmla="*/ 297180 w 480060"/>
              <a:gd name="connsiteY6" fmla="*/ 807720 h 1783080"/>
              <a:gd name="connsiteX7" fmla="*/ 320040 w 480060"/>
              <a:gd name="connsiteY7" fmla="*/ 723900 h 1783080"/>
              <a:gd name="connsiteX8" fmla="*/ 335280 w 480060"/>
              <a:gd name="connsiteY8" fmla="*/ 655320 h 1783080"/>
              <a:gd name="connsiteX9" fmla="*/ 350520 w 480060"/>
              <a:gd name="connsiteY9" fmla="*/ 594360 h 1783080"/>
              <a:gd name="connsiteX10" fmla="*/ 365760 w 480060"/>
              <a:gd name="connsiteY10" fmla="*/ 495300 h 1783080"/>
              <a:gd name="connsiteX11" fmla="*/ 403860 w 480060"/>
              <a:gd name="connsiteY11" fmla="*/ 419100 h 1783080"/>
              <a:gd name="connsiteX12" fmla="*/ 411480 w 480060"/>
              <a:gd name="connsiteY12" fmla="*/ 365760 h 1783080"/>
              <a:gd name="connsiteX13" fmla="*/ 419100 w 480060"/>
              <a:gd name="connsiteY13" fmla="*/ 327660 h 1783080"/>
              <a:gd name="connsiteX14" fmla="*/ 434340 w 480060"/>
              <a:gd name="connsiteY14" fmla="*/ 213360 h 1783080"/>
              <a:gd name="connsiteX15" fmla="*/ 449580 w 480060"/>
              <a:gd name="connsiteY15" fmla="*/ 175260 h 1783080"/>
              <a:gd name="connsiteX16" fmla="*/ 457200 w 480060"/>
              <a:gd name="connsiteY16" fmla="*/ 121920 h 1783080"/>
              <a:gd name="connsiteX17" fmla="*/ 464820 w 480060"/>
              <a:gd name="connsiteY17" fmla="*/ 45720 h 1783080"/>
              <a:gd name="connsiteX18" fmla="*/ 480060 w 480060"/>
              <a:gd name="connsiteY18" fmla="*/ 0 h 178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80060" h="1783080">
                <a:moveTo>
                  <a:pt x="0" y="1783080"/>
                </a:moveTo>
                <a:lnTo>
                  <a:pt x="0" y="1783080"/>
                </a:lnTo>
                <a:cubicBezTo>
                  <a:pt x="33020" y="1689100"/>
                  <a:pt x="59821" y="1592698"/>
                  <a:pt x="99060" y="1501140"/>
                </a:cubicBezTo>
                <a:cubicBezTo>
                  <a:pt x="151078" y="1379764"/>
                  <a:pt x="142057" y="1413213"/>
                  <a:pt x="175260" y="1287780"/>
                </a:cubicBezTo>
                <a:cubicBezTo>
                  <a:pt x="188659" y="1237160"/>
                  <a:pt x="199961" y="1186000"/>
                  <a:pt x="213360" y="1135380"/>
                </a:cubicBezTo>
                <a:cubicBezTo>
                  <a:pt x="222824" y="1099628"/>
                  <a:pt x="234674" y="1064529"/>
                  <a:pt x="243840" y="1028700"/>
                </a:cubicBezTo>
                <a:cubicBezTo>
                  <a:pt x="262620" y="955289"/>
                  <a:pt x="278802" y="881233"/>
                  <a:pt x="297180" y="807720"/>
                </a:cubicBezTo>
                <a:cubicBezTo>
                  <a:pt x="304204" y="779624"/>
                  <a:pt x="313758" y="752171"/>
                  <a:pt x="320040" y="723900"/>
                </a:cubicBezTo>
                <a:cubicBezTo>
                  <a:pt x="325120" y="701040"/>
                  <a:pt x="330373" y="678218"/>
                  <a:pt x="335280" y="655320"/>
                </a:cubicBezTo>
                <a:cubicBezTo>
                  <a:pt x="346314" y="603827"/>
                  <a:pt x="337664" y="632928"/>
                  <a:pt x="350520" y="594360"/>
                </a:cubicBezTo>
                <a:cubicBezTo>
                  <a:pt x="352050" y="580593"/>
                  <a:pt x="355861" y="518397"/>
                  <a:pt x="365760" y="495300"/>
                </a:cubicBezTo>
                <a:cubicBezTo>
                  <a:pt x="376947" y="469198"/>
                  <a:pt x="403860" y="419100"/>
                  <a:pt x="403860" y="419100"/>
                </a:cubicBezTo>
                <a:cubicBezTo>
                  <a:pt x="406400" y="401320"/>
                  <a:pt x="408527" y="383476"/>
                  <a:pt x="411480" y="365760"/>
                </a:cubicBezTo>
                <a:cubicBezTo>
                  <a:pt x="413609" y="352985"/>
                  <a:pt x="417131" y="340461"/>
                  <a:pt x="419100" y="327660"/>
                </a:cubicBezTo>
                <a:cubicBezTo>
                  <a:pt x="420468" y="318767"/>
                  <a:pt x="431261" y="225676"/>
                  <a:pt x="434340" y="213360"/>
                </a:cubicBezTo>
                <a:cubicBezTo>
                  <a:pt x="437657" y="200090"/>
                  <a:pt x="444500" y="187960"/>
                  <a:pt x="449580" y="175260"/>
                </a:cubicBezTo>
                <a:cubicBezTo>
                  <a:pt x="452120" y="157480"/>
                  <a:pt x="455101" y="139757"/>
                  <a:pt x="457200" y="121920"/>
                </a:cubicBezTo>
                <a:cubicBezTo>
                  <a:pt x="460183" y="96568"/>
                  <a:pt x="460116" y="70809"/>
                  <a:pt x="464820" y="45720"/>
                </a:cubicBezTo>
                <a:cubicBezTo>
                  <a:pt x="467780" y="29931"/>
                  <a:pt x="468630" y="10160"/>
                  <a:pt x="480060" y="0"/>
                </a:cubicBez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4472940" y="1569720"/>
            <a:ext cx="3383280" cy="3040380"/>
          </a:xfrm>
          <a:custGeom>
            <a:avLst/>
            <a:gdLst>
              <a:gd name="connsiteX0" fmla="*/ 0 w 3383280"/>
              <a:gd name="connsiteY0" fmla="*/ 1882140 h 3040380"/>
              <a:gd name="connsiteX1" fmla="*/ 708660 w 3383280"/>
              <a:gd name="connsiteY1" fmla="*/ 76200 h 3040380"/>
              <a:gd name="connsiteX2" fmla="*/ 2750820 w 3383280"/>
              <a:gd name="connsiteY2" fmla="*/ 0 h 3040380"/>
              <a:gd name="connsiteX3" fmla="*/ 3383280 w 3383280"/>
              <a:gd name="connsiteY3" fmla="*/ 1889760 h 3040380"/>
              <a:gd name="connsiteX4" fmla="*/ 1691640 w 3383280"/>
              <a:gd name="connsiteY4" fmla="*/ 3040380 h 3040380"/>
              <a:gd name="connsiteX5" fmla="*/ 0 w 3383280"/>
              <a:gd name="connsiteY5" fmla="*/ 1882140 h 3040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3280" h="3040380">
                <a:moveTo>
                  <a:pt x="0" y="1882140"/>
                </a:moveTo>
                <a:lnTo>
                  <a:pt x="708660" y="76200"/>
                </a:lnTo>
                <a:lnTo>
                  <a:pt x="2750820" y="0"/>
                </a:lnTo>
                <a:lnTo>
                  <a:pt x="3383280" y="1889760"/>
                </a:lnTo>
                <a:lnTo>
                  <a:pt x="1691640" y="3040380"/>
                </a:lnTo>
                <a:lnTo>
                  <a:pt x="0" y="188214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 w="28575">
            <a:solidFill>
              <a:schemeClr val="bg1"/>
            </a:solidFill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3223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Lukas_Stecak\Desktop\FDP\Internacionalizacia\world  199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046" y="1810512"/>
            <a:ext cx="7367592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947177"/>
            <a:ext cx="2598420" cy="725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chemeClr val="bg2"/>
                </a:solidFill>
                <a:latin typeface="+mj-lt"/>
              </a:rPr>
              <a:t>Legend: excuse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0070C0"/>
                </a:solidFill>
                <a:latin typeface="+mj-lt"/>
              </a:rPr>
              <a:t>HQ/Subsidiary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C00000"/>
                </a:solidFill>
                <a:latin typeface="+mj-lt"/>
              </a:rPr>
              <a:t>Manufacture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190500" y="3071184"/>
            <a:ext cx="784860" cy="479735"/>
          </a:xfrm>
          <a:prstGeom prst="wedgeRoundRectCallout">
            <a:avLst>
              <a:gd name="adj1" fmla="val 165774"/>
              <a:gd name="adj2" fmla="val -63283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HQ in Austin, Texas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90500" y="3696651"/>
            <a:ext cx="784860" cy="479735"/>
          </a:xfrm>
          <a:prstGeom prst="wedgeRoundRectCallout">
            <a:avLst>
              <a:gd name="adj1" fmla="val 161776"/>
              <a:gd name="adj2" fmla="val -1903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Austin, Texas</a:t>
            </a:r>
          </a:p>
        </p:txBody>
      </p:sp>
      <p:sp>
        <p:nvSpPr>
          <p:cNvPr id="4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rue Global Company (2000-2004)</a:t>
            </a:r>
            <a:endParaRPr lang="en-US" sz="28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198171" y="2560019"/>
            <a:ext cx="851535" cy="534026"/>
          </a:xfrm>
          <a:prstGeom prst="wedgeRoundRectCallout">
            <a:avLst>
              <a:gd name="adj1" fmla="val -295706"/>
              <a:gd name="adj2" fmla="val 175537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Penang, Malaysia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3596640" y="1192769"/>
            <a:ext cx="784860" cy="479735"/>
          </a:xfrm>
          <a:prstGeom prst="wedgeRoundRectCallout">
            <a:avLst>
              <a:gd name="adj1" fmla="val -34076"/>
              <a:gd name="adj2" fmla="val 222625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Limerick, Irelan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0500" y="2724713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26746" y="219068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6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96640" y="83105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15" name="Rounded Rectangular Callout 14"/>
          <p:cNvSpPr/>
          <p:nvPr/>
        </p:nvSpPr>
        <p:spPr>
          <a:xfrm>
            <a:off x="6141720" y="1200389"/>
            <a:ext cx="784860" cy="479735"/>
          </a:xfrm>
          <a:prstGeom prst="wedgeRoundRectCallout">
            <a:avLst>
              <a:gd name="adj1" fmla="val -15630"/>
              <a:gd name="adj2" fmla="val 3830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Xiamen, Chin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34100" y="831534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8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190500" y="5447106"/>
            <a:ext cx="784860" cy="674131"/>
          </a:xfrm>
          <a:prstGeom prst="wedgeRoundRectCallout">
            <a:avLst>
              <a:gd name="adj1" fmla="val 274660"/>
              <a:gd name="adj2" fmla="val -174770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Eldorado do </a:t>
            </a:r>
            <a:r>
              <a:rPr lang="en-US" sz="1000" kern="120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ul</a:t>
            </a:r>
            <a:r>
              <a: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Brazi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0500" y="5077774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9</a:t>
            </a:r>
          </a:p>
        </p:txBody>
      </p:sp>
      <p:sp>
        <p:nvSpPr>
          <p:cNvPr id="19" name="Rounded Rectangular Callout 18"/>
          <p:cNvSpPr/>
          <p:nvPr/>
        </p:nvSpPr>
        <p:spPr>
          <a:xfrm>
            <a:off x="2026920" y="1112521"/>
            <a:ext cx="1333500" cy="569032"/>
          </a:xfrm>
          <a:prstGeom prst="wedgeRoundRectCallout">
            <a:avLst>
              <a:gd name="adj1" fmla="val -47478"/>
              <a:gd name="adj2" fmla="val 254178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Nashville and Lebanon, Tennesse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01240" y="74318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9</a:t>
            </a:r>
          </a:p>
        </p:txBody>
      </p:sp>
    </p:spTree>
    <p:extLst>
      <p:ext uri="{BB962C8B-B14F-4D97-AF65-F5344CB8AC3E}">
        <p14:creationId xmlns:p14="http://schemas.microsoft.com/office/powerpoint/2010/main" val="287586047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239126" cy="469958"/>
          </a:xfrm>
        </p:spPr>
        <p:txBody>
          <a:bodyPr/>
          <a:lstStyle/>
          <a:p>
            <a:r>
              <a:rPr lang="en-US" dirty="0" smtClean="0"/>
              <a:t>True Global Company (2000-2004)</a:t>
            </a:r>
            <a:endParaRPr lang="en-US" dirty="0"/>
          </a:p>
        </p:txBody>
      </p:sp>
      <p:pic>
        <p:nvPicPr>
          <p:cNvPr id="1026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461" y="842390"/>
            <a:ext cx="5292539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9841" y="1077750"/>
            <a:ext cx="4189752" cy="6873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0- Community engagement : Michael </a:t>
            </a:r>
            <a:r>
              <a:rPr lang="en-US" sz="2000" dirty="0">
                <a:solidFill>
                  <a:schemeClr val="bg2"/>
                </a:solidFill>
                <a:latin typeface="+mn-lt"/>
              </a:rPr>
              <a:t>and Susan Dell </a:t>
            </a: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Foundation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0 – Environment issues – recycling program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1- Market decrease but…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3 &amp; 2004 – no.1 in market share of computer vendor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4 – Michael Dell Stepped down as CEO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Direct model as successful Global strategy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800100" lvl="1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800100" lvl="1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63223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topford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63678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239126" cy="469958"/>
          </a:xfrm>
        </p:spPr>
        <p:txBody>
          <a:bodyPr/>
          <a:lstStyle/>
          <a:p>
            <a:r>
              <a:rPr lang="en-US" dirty="0" smtClean="0"/>
              <a:t>CIT and Dell</a:t>
            </a:r>
            <a:endParaRPr lang="en-US" dirty="0"/>
          </a:p>
        </p:txBody>
      </p:sp>
      <p:sp>
        <p:nvSpPr>
          <p:cNvPr id="6" name="Curved Down Arrow 5"/>
          <p:cNvSpPr/>
          <p:nvPr/>
        </p:nvSpPr>
        <p:spPr>
          <a:xfrm>
            <a:off x="1760220" y="2038350"/>
            <a:ext cx="5334000" cy="2110740"/>
          </a:xfrm>
          <a:prstGeom prst="curvedDownArrow">
            <a:avLst/>
          </a:prstGeom>
          <a:solidFill>
            <a:schemeClr val="accent1"/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7190" y="3246120"/>
            <a:ext cx="982980" cy="1225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Export</a:t>
            </a:r>
          </a:p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Dell Direct mod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5370" y="1664494"/>
            <a:ext cx="1463040" cy="671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Licensing</a:t>
            </a:r>
          </a:p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Servic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482340" y="1256348"/>
            <a:ext cx="1889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Joint-venture</a:t>
            </a:r>
          </a:p>
        </p:txBody>
      </p:sp>
      <p:sp>
        <p:nvSpPr>
          <p:cNvPr id="9" name="Rectangle 8"/>
          <p:cNvSpPr/>
          <p:nvPr/>
        </p:nvSpPr>
        <p:spPr>
          <a:xfrm>
            <a:off x="6461938" y="2337108"/>
            <a:ext cx="24393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>
                <a:solidFill>
                  <a:schemeClr val="bg2"/>
                </a:solidFill>
                <a:latin typeface="+mn-lt"/>
              </a:rPr>
              <a:t>Affiliated compan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893820" y="1610916"/>
            <a:ext cx="162306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2000 CI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836406" y="2706440"/>
            <a:ext cx="1623060" cy="865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2011 </a:t>
            </a:r>
          </a:p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Dell financial services</a:t>
            </a:r>
          </a:p>
        </p:txBody>
      </p:sp>
    </p:spTree>
    <p:extLst>
      <p:ext uri="{BB962C8B-B14F-4D97-AF65-F5344CB8AC3E}">
        <p14:creationId xmlns:p14="http://schemas.microsoft.com/office/powerpoint/2010/main" val="348294860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k-SK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36389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Introduc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Dell Evolu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Stopford Model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25456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l approach – Global commercial chann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46100" y="969870"/>
            <a:ext cx="1070849" cy="106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ight Triangle 19"/>
          <p:cNvSpPr/>
          <p:nvPr/>
        </p:nvSpPr>
        <p:spPr>
          <a:xfrm>
            <a:off x="295564" y="5478481"/>
            <a:ext cx="8562108" cy="663962"/>
          </a:xfrm>
          <a:prstGeom prst="rtTriangle">
            <a:avLst/>
          </a:prstGeom>
          <a:solidFill>
            <a:schemeClr val="accent1"/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809960" y="5699665"/>
            <a:ext cx="3047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  <a:latin typeface="+mj-lt"/>
              </a:rPr>
              <a:t>Level of cooperation</a:t>
            </a:r>
            <a:endParaRPr lang="en-US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928297165"/>
              </p:ext>
            </p:extLst>
          </p:nvPr>
        </p:nvGraphicFramePr>
        <p:xfrm>
          <a:off x="280698" y="2151945"/>
          <a:ext cx="8515927" cy="3315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72902384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es Michael Dell describe the Dell evolutio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hlinkClick r:id="rId2"/>
              </a:rPr>
              <a:t>http</a:t>
            </a:r>
            <a:r>
              <a:rPr lang="en-US" sz="2400" dirty="0">
                <a:hlinkClick r:id="rId2"/>
              </a:rPr>
              <a:t>://</a:t>
            </a:r>
            <a:r>
              <a:rPr lang="en-US" sz="2400" dirty="0" smtClean="0">
                <a:hlinkClick r:id="rId2"/>
              </a:rPr>
              <a:t>www.youtube.com/watch?v=N3VOR31Hrn4</a:t>
            </a:r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28999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ell’s commitment to custom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hlinkClick r:id="rId2"/>
              </a:rPr>
              <a:t>http://www.youtube.com/watch?v=-</a:t>
            </a:r>
            <a:r>
              <a:rPr lang="en-US" sz="2400" dirty="0" smtClean="0">
                <a:hlinkClick r:id="rId2"/>
              </a:rPr>
              <a:t>5-3t4RAaio</a:t>
            </a:r>
            <a:endParaRPr lang="en-US" sz="2400" dirty="0" smtClean="0"/>
          </a:p>
          <a:p>
            <a:endParaRPr lang="en-US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93749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reating </a:t>
            </a:r>
            <a:br>
              <a:rPr lang="en-US" dirty="0" smtClean="0"/>
            </a:br>
            <a:r>
              <a:rPr lang="en-US" dirty="0" smtClean="0"/>
              <a:t>global business uni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24773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l organization </a:t>
            </a:r>
            <a:r>
              <a:rPr lang="en-US" dirty="0"/>
              <a:t>b</a:t>
            </a:r>
            <a:r>
              <a:rPr lang="en-US" dirty="0" smtClean="0"/>
              <a:t>ased on the customer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797" y="706984"/>
            <a:ext cx="1019173" cy="1019173"/>
          </a:xfrm>
          <a:prstGeom prst="rect">
            <a:avLst/>
          </a:prstGeom>
        </p:spPr>
      </p:pic>
      <p:sp>
        <p:nvSpPr>
          <p:cNvPr id="47" name="Down Arrow 46"/>
          <p:cNvSpPr/>
          <p:nvPr/>
        </p:nvSpPr>
        <p:spPr>
          <a:xfrm>
            <a:off x="7575955" y="5415405"/>
            <a:ext cx="628650" cy="45720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750133" y="5784450"/>
            <a:ext cx="80509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+mn-lt"/>
              </a:rPr>
              <a:t>Dell strategic business units (SBU’s) aligned to customer segments</a:t>
            </a:r>
            <a:endParaRPr lang="en-US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Down Arrow 39"/>
          <p:cNvSpPr/>
          <p:nvPr/>
        </p:nvSpPr>
        <p:spPr>
          <a:xfrm>
            <a:off x="942691" y="5415405"/>
            <a:ext cx="628650" cy="457200"/>
          </a:xfrm>
          <a:prstGeom prst="downArrow">
            <a:avLst/>
          </a:prstGeom>
          <a:solidFill>
            <a:srgbClr val="7AB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Down Arrow 50"/>
          <p:cNvSpPr/>
          <p:nvPr/>
        </p:nvSpPr>
        <p:spPr>
          <a:xfrm>
            <a:off x="3103586" y="5415405"/>
            <a:ext cx="628650" cy="457200"/>
          </a:xfrm>
          <a:prstGeom prst="downArrow">
            <a:avLst/>
          </a:prstGeom>
          <a:solidFill>
            <a:srgbClr val="F2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Down Arrow 51"/>
          <p:cNvSpPr/>
          <p:nvPr/>
        </p:nvSpPr>
        <p:spPr>
          <a:xfrm>
            <a:off x="5381798" y="5416800"/>
            <a:ext cx="628650" cy="457200"/>
          </a:xfrm>
          <a:prstGeom prst="downArrow">
            <a:avLst/>
          </a:prstGeom>
          <a:solidFill>
            <a:srgbClr val="DC5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66830600"/>
              </p:ext>
            </p:extLst>
          </p:nvPr>
        </p:nvGraphicFramePr>
        <p:xfrm>
          <a:off x="323273" y="1567602"/>
          <a:ext cx="8497454" cy="34272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Rectangle 11"/>
          <p:cNvSpPr/>
          <p:nvPr/>
        </p:nvSpPr>
        <p:spPr>
          <a:xfrm>
            <a:off x="323273" y="4784436"/>
            <a:ext cx="8580582" cy="630969"/>
          </a:xfrm>
          <a:prstGeom prst="rect">
            <a:avLst/>
          </a:prstGeom>
          <a:solidFill>
            <a:srgbClr val="444444"/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3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orld-wide view</a:t>
            </a:r>
          </a:p>
        </p:txBody>
      </p:sp>
    </p:spTree>
    <p:extLst>
      <p:ext uri="{BB962C8B-B14F-4D97-AF65-F5344CB8AC3E}">
        <p14:creationId xmlns:p14="http://schemas.microsoft.com/office/powerpoint/2010/main" val="225048738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onal structure to global SBUs</a:t>
            </a:r>
            <a:endParaRPr lang="en-US" dirty="0"/>
          </a:p>
        </p:txBody>
      </p:sp>
      <p:pic>
        <p:nvPicPr>
          <p:cNvPr id="27" name="Picture 3" descr="C:\Users\steve_lawton\Pictures\ACS_map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6249" y="4541250"/>
            <a:ext cx="3048001" cy="1632055"/>
          </a:xfrm>
          <a:prstGeom prst="rect">
            <a:avLst/>
          </a:prstGeom>
          <a:noFill/>
        </p:spPr>
      </p:pic>
      <p:pic>
        <p:nvPicPr>
          <p:cNvPr id="29" name="Picture 6" descr="C:\Users\steve_lawton\Pictures\global_map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72464" y="4373306"/>
            <a:ext cx="3158358" cy="1800000"/>
          </a:xfrm>
          <a:prstGeom prst="rect">
            <a:avLst/>
          </a:prstGeom>
          <a:noFill/>
        </p:spPr>
      </p:pic>
      <p:sp>
        <p:nvSpPr>
          <p:cNvPr id="36" name="Right Arrow 35"/>
          <p:cNvSpPr/>
          <p:nvPr/>
        </p:nvSpPr>
        <p:spPr>
          <a:xfrm>
            <a:off x="3977702" y="4866894"/>
            <a:ext cx="1120022" cy="980766"/>
          </a:xfrm>
          <a:prstGeom prst="rightArrow">
            <a:avLst/>
          </a:prstGeom>
          <a:solidFill>
            <a:schemeClr val="bg1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64896" y="1082386"/>
            <a:ext cx="8401050" cy="1185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2000" dirty="0">
                <a:latin typeface="+mj-lt"/>
              </a:rPr>
              <a:t>“We have laid the foundation for the transition from a global business that's run regionally to businesses that are really globally organized</a:t>
            </a:r>
            <a:r>
              <a:rPr lang="en-US" sz="2000" dirty="0" smtClean="0">
                <a:latin typeface="+mj-lt"/>
              </a:rPr>
              <a:t>.”</a:t>
            </a:r>
          </a:p>
          <a:p>
            <a:pPr algn="r">
              <a:lnSpc>
                <a:spcPct val="130000"/>
              </a:lnSpc>
            </a:pPr>
            <a:r>
              <a:rPr lang="en-US" sz="1600" dirty="0" smtClean="0">
                <a:latin typeface="+mj-lt"/>
              </a:rPr>
              <a:t>Michael Dell </a:t>
            </a:r>
            <a:r>
              <a:rPr lang="en-US" sz="1600" baseline="30000" dirty="0" smtClean="0">
                <a:latin typeface="+mj-lt"/>
              </a:rPr>
              <a:t>1)</a:t>
            </a:r>
            <a:endParaRPr lang="en-US" sz="1600" baseline="30000" dirty="0"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1475" y="6135206"/>
            <a:ext cx="84772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aseline="30000" dirty="0" smtClean="0">
                <a:latin typeface="+mn-lt"/>
              </a:rPr>
              <a:t>1) </a:t>
            </a:r>
            <a:r>
              <a:rPr lang="en-US" sz="1000" dirty="0" smtClean="0">
                <a:latin typeface="+mn-lt"/>
              </a:rPr>
              <a:t>http</a:t>
            </a:r>
            <a:r>
              <a:rPr lang="en-US" sz="1000" dirty="0">
                <a:latin typeface="+mn-lt"/>
              </a:rPr>
              <a:t>://</a:t>
            </a:r>
            <a:r>
              <a:rPr lang="en-US" sz="1000" dirty="0" smtClean="0">
                <a:latin typeface="+mn-lt"/>
              </a:rPr>
              <a:t>www.itexaminer.com/dell-implements-restructuring-plan.aspx</a:t>
            </a:r>
            <a:endParaRPr lang="en-US" dirty="0"/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587109755"/>
              </p:ext>
            </p:extLst>
          </p:nvPr>
        </p:nvGraphicFramePr>
        <p:xfrm>
          <a:off x="1189530" y="2242747"/>
          <a:ext cx="6751781" cy="2130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258486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/>
          <p:cNvSpPr txBox="1"/>
          <p:nvPr/>
        </p:nvSpPr>
        <p:spPr>
          <a:xfrm>
            <a:off x="5052060" y="2041803"/>
            <a:ext cx="3151091" cy="892552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600" dirty="0" smtClean="0">
                <a:solidFill>
                  <a:schemeClr val="tx2"/>
                </a:solidFill>
                <a:latin typeface="Museo For Dell"/>
              </a:rPr>
              <a:t>Large Enterprise</a:t>
            </a:r>
          </a:p>
          <a:p>
            <a:pPr algn="ctr"/>
            <a:r>
              <a:rPr lang="en-US" sz="2600" dirty="0" smtClean="0">
                <a:solidFill>
                  <a:schemeClr val="tx2"/>
                </a:solidFill>
                <a:latin typeface="Museo For Dell"/>
              </a:rPr>
              <a:t>Public</a:t>
            </a:r>
            <a:endParaRPr lang="en-US" sz="2600" dirty="0">
              <a:solidFill>
                <a:schemeClr val="tx2"/>
              </a:solidFill>
              <a:latin typeface="Museo For Del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613467" y="2034153"/>
            <a:ext cx="2969963" cy="8925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600" dirty="0" smtClean="0">
                <a:solidFill>
                  <a:schemeClr val="tx2"/>
                </a:solidFill>
                <a:latin typeface="Museo For Dell"/>
              </a:rPr>
              <a:t>Consumer </a:t>
            </a:r>
          </a:p>
          <a:p>
            <a:pPr algn="ctr"/>
            <a:r>
              <a:rPr lang="en-US" sz="2600" dirty="0" smtClean="0">
                <a:solidFill>
                  <a:schemeClr val="tx2"/>
                </a:solidFill>
                <a:latin typeface="Museo For Dell"/>
              </a:rPr>
              <a:t>SMB</a:t>
            </a:r>
            <a:endParaRPr lang="en-US" sz="2600" dirty="0">
              <a:solidFill>
                <a:schemeClr val="tx2"/>
              </a:solidFill>
              <a:latin typeface="Museo For Dell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1485909" y="1972598"/>
            <a:ext cx="6850592" cy="3134845"/>
          </a:xfrm>
          <a:prstGeom prst="roundRect">
            <a:avLst/>
          </a:prstGeom>
          <a:noFill/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Museo Sans For Dell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l organization </a:t>
            </a:r>
            <a:r>
              <a:rPr lang="en-US" dirty="0"/>
              <a:t>b</a:t>
            </a:r>
            <a:r>
              <a:rPr lang="en-US" dirty="0" smtClean="0"/>
              <a:t>ased on customer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485" y="847726"/>
            <a:ext cx="1019173" cy="101917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1076332" y="3088512"/>
            <a:ext cx="7635805" cy="369332"/>
          </a:xfrm>
          <a:prstGeom prst="rect">
            <a:avLst/>
          </a:prstGeom>
          <a:solidFill>
            <a:srgbClr val="F2AF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FFFFFF"/>
                </a:solidFill>
                <a:latin typeface="Museo For Dell"/>
              </a:rPr>
              <a:t>End User Computing Solution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76333" y="3596878"/>
            <a:ext cx="7635804" cy="369332"/>
          </a:xfrm>
          <a:prstGeom prst="rect">
            <a:avLst/>
          </a:prstGeom>
          <a:solidFill>
            <a:srgbClr val="F2AF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FFFFFF"/>
                </a:solidFill>
                <a:latin typeface="Museo For Dell"/>
              </a:rPr>
              <a:t>Enterprise Solutions</a:t>
            </a:r>
            <a:endParaRPr lang="en-US" sz="1800" dirty="0">
              <a:solidFill>
                <a:srgbClr val="FFFFFF"/>
              </a:solidFill>
              <a:latin typeface="Museo For Del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76335" y="4116260"/>
            <a:ext cx="7635801" cy="369332"/>
          </a:xfrm>
          <a:prstGeom prst="rect">
            <a:avLst/>
          </a:prstGeom>
          <a:solidFill>
            <a:srgbClr val="F2AF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FFFFFF"/>
                </a:solidFill>
                <a:latin typeface="Museo For Dell"/>
              </a:rPr>
              <a:t>Services</a:t>
            </a:r>
            <a:endParaRPr lang="en-US" sz="1800" dirty="0">
              <a:solidFill>
                <a:srgbClr val="FFFFFF"/>
              </a:solidFill>
              <a:latin typeface="Museo For Dell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03071" y="4731503"/>
            <a:ext cx="6500080" cy="40011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FFFF"/>
                </a:solidFill>
                <a:latin typeface="Museo For Dell"/>
              </a:rPr>
              <a:t>Corporate/Shared (Supporting Functions)</a:t>
            </a:r>
            <a:endParaRPr lang="en-US" sz="2000" dirty="0">
              <a:solidFill>
                <a:srgbClr val="FFFFFF"/>
              </a:solidFill>
              <a:latin typeface="Museo For Dell"/>
            </a:endParaRPr>
          </a:p>
        </p:txBody>
      </p:sp>
      <p:sp>
        <p:nvSpPr>
          <p:cNvPr id="43" name="Left Brace 42"/>
          <p:cNvSpPr/>
          <p:nvPr/>
        </p:nvSpPr>
        <p:spPr>
          <a:xfrm>
            <a:off x="740608" y="3095418"/>
            <a:ext cx="297628" cy="1378982"/>
          </a:xfrm>
          <a:prstGeom prst="leftBrace">
            <a:avLst/>
          </a:prstGeom>
          <a:noFill/>
          <a:ln w="25400">
            <a:solidFill>
              <a:srgbClr val="F2A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 rot="16200000">
            <a:off x="-861074" y="3455012"/>
            <a:ext cx="26185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2AF00"/>
                </a:solidFill>
                <a:latin typeface="+mn-lt"/>
              </a:rPr>
              <a:t>Overlay solution groups to drive strategy</a:t>
            </a:r>
            <a:endParaRPr lang="en-US" sz="1600" dirty="0">
              <a:solidFill>
                <a:srgbClr val="F2AF00"/>
              </a:solidFill>
              <a:latin typeface="+mn-lt"/>
            </a:endParaRPr>
          </a:p>
        </p:txBody>
      </p:sp>
      <p:sp>
        <p:nvSpPr>
          <p:cNvPr id="46" name="Down Arrow 45"/>
          <p:cNvSpPr/>
          <p:nvPr/>
        </p:nvSpPr>
        <p:spPr>
          <a:xfrm>
            <a:off x="2552700" y="5219700"/>
            <a:ext cx="628650" cy="45720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Down Arrow 46"/>
          <p:cNvSpPr/>
          <p:nvPr/>
        </p:nvSpPr>
        <p:spPr>
          <a:xfrm>
            <a:off x="6838950" y="5219700"/>
            <a:ext cx="628650" cy="45720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750133" y="5695950"/>
            <a:ext cx="80509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+mn-lt"/>
              </a:rPr>
              <a:t>Dell strategic business units (SBU’s) aligned to customer segments</a:t>
            </a:r>
            <a:endParaRPr lang="en-US" sz="20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610446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porting changes to reflect strategy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74370" y="6275070"/>
            <a:ext cx="75780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http://en.community.dell.com/dell-blogs/dell-shares/b/dell-shares/archive/2013/01/10/financial-reporting-change-product-and-service-based-p-amp-l.aspx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774984081"/>
              </p:ext>
            </p:extLst>
          </p:nvPr>
        </p:nvGraphicFramePr>
        <p:xfrm>
          <a:off x="175491" y="1187164"/>
          <a:ext cx="8802253" cy="4299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3" name="Rectangle 22"/>
          <p:cNvSpPr/>
          <p:nvPr/>
        </p:nvSpPr>
        <p:spPr>
          <a:xfrm>
            <a:off x="184727" y="4708850"/>
            <a:ext cx="8802255" cy="491490"/>
          </a:xfrm>
          <a:prstGeom prst="rect">
            <a:avLst/>
          </a:prstGeom>
          <a:solidFill>
            <a:srgbClr val="444444"/>
          </a:solidFill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Support functions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56046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ell reflecting </a:t>
            </a:r>
            <a:r>
              <a:rPr lang="en-US" dirty="0"/>
              <a:t>c</a:t>
            </a:r>
            <a:r>
              <a:rPr lang="en-US" dirty="0" smtClean="0"/>
              <a:t>urrent IT tren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38444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jor IT trend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58142" y="4873336"/>
            <a:ext cx="8138133" cy="1056897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2800" dirty="0" smtClean="0">
                <a:solidFill>
                  <a:schemeClr val="tx2"/>
                </a:solidFill>
              </a:rPr>
              <a:t>Global industry </a:t>
            </a:r>
            <a:r>
              <a:rPr lang="en-US" sz="2800" dirty="0">
                <a:solidFill>
                  <a:schemeClr val="tx2"/>
                </a:solidFill>
              </a:rPr>
              <a:t>t</a:t>
            </a:r>
            <a:r>
              <a:rPr lang="en-US" sz="2800" dirty="0" smtClean="0">
                <a:solidFill>
                  <a:schemeClr val="tx2"/>
                </a:solidFill>
              </a:rPr>
              <a:t>rend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</a:rPr>
              <a:t>BRIC country IT market growth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err="1" smtClean="0">
                <a:solidFill>
                  <a:schemeClr val="tx2"/>
                </a:solidFill>
              </a:rPr>
              <a:t>Consumerization</a:t>
            </a:r>
            <a:r>
              <a:rPr lang="en-US" sz="2000" dirty="0" smtClean="0">
                <a:solidFill>
                  <a:schemeClr val="tx2"/>
                </a:solidFill>
              </a:rPr>
              <a:t> of IT – change of traditional work/life pattern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2090056" y="3436191"/>
            <a:ext cx="475013" cy="342268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62245" y="3754389"/>
            <a:ext cx="4320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dirty="0" smtClean="0">
                <a:solidFill>
                  <a:schemeClr val="bg1"/>
                </a:solidFill>
                <a:latin typeface="+mn-lt"/>
              </a:rPr>
              <a:t>Rise of Smartphones, Tablets, Ultra-books and Cloud Services</a:t>
            </a:r>
            <a:endParaRPr lang="en-US" sz="2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Down Arrow 13"/>
          <p:cNvSpPr/>
          <p:nvPr/>
        </p:nvSpPr>
        <p:spPr>
          <a:xfrm>
            <a:off x="6288762" y="3436191"/>
            <a:ext cx="475013" cy="342268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603457" y="3725751"/>
            <a:ext cx="43200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dirty="0" smtClean="0">
                <a:solidFill>
                  <a:schemeClr val="bg1"/>
                </a:solidFill>
                <a:latin typeface="+mn-lt"/>
              </a:rPr>
              <a:t>Rapidly increasing storage requirements, services instead of in-house solutions</a:t>
            </a:r>
            <a:endParaRPr lang="en-US" sz="220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667323097"/>
              </p:ext>
            </p:extLst>
          </p:nvPr>
        </p:nvGraphicFramePr>
        <p:xfrm>
          <a:off x="558142" y="912620"/>
          <a:ext cx="7939313" cy="25192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69417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3" grpId="0"/>
      <p:bldP spid="14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565" y="115416"/>
            <a:ext cx="8958493" cy="714356"/>
          </a:xfrm>
        </p:spPr>
        <p:txBody>
          <a:bodyPr/>
          <a:lstStyle/>
          <a:p>
            <a:r>
              <a:rPr lang="en-IE" dirty="0" smtClean="0"/>
              <a:t>Career Triangle – Ivan Mitringa, FCCA, CIA, CTP</a:t>
            </a:r>
            <a:endParaRPr lang="en-IE" dirty="0"/>
          </a:p>
        </p:txBody>
      </p:sp>
      <p:sp>
        <p:nvSpPr>
          <p:cNvPr id="6" name="Isosceles Triangle 5"/>
          <p:cNvSpPr/>
          <p:nvPr/>
        </p:nvSpPr>
        <p:spPr bwMode="auto">
          <a:xfrm>
            <a:off x="0" y="928670"/>
            <a:ext cx="9144000" cy="5715040"/>
          </a:xfrm>
          <a:prstGeom prst="triangl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714347" y="5357826"/>
            <a:ext cx="7468299" cy="28575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ndividual Contributor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– Junior Level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257897" y="2528206"/>
            <a:ext cx="4857784" cy="28575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latin typeface="Arial" charset="0"/>
              </a:rPr>
              <a:t>Individual Contributor/Leadership– Senior Level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14348" y="5786454"/>
            <a:ext cx="1643074" cy="71438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/>
              <a:t>Audit Assistant</a:t>
            </a:r>
          </a:p>
          <a:p>
            <a:endParaRPr lang="en-US" sz="1000" dirty="0" smtClean="0"/>
          </a:p>
          <a:p>
            <a:r>
              <a:rPr lang="en-US" sz="800" dirty="0" err="1" smtClean="0"/>
              <a:t>Delloite</a:t>
            </a:r>
            <a:r>
              <a:rPr lang="en-US" sz="800" dirty="0" smtClean="0"/>
              <a:t> &amp; </a:t>
            </a:r>
            <a:r>
              <a:rPr lang="en-US" sz="800" dirty="0" err="1" smtClean="0"/>
              <a:t>Touche</a:t>
            </a:r>
            <a:r>
              <a:rPr lang="en-US" sz="800" dirty="0" smtClean="0"/>
              <a:t>                  </a:t>
            </a:r>
            <a:r>
              <a:rPr lang="en-US" sz="800" b="1" dirty="0" smtClean="0"/>
              <a:t>1Y</a:t>
            </a:r>
            <a:endParaRPr lang="en-US" sz="8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3506130" y="5775568"/>
            <a:ext cx="1785950" cy="71438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/>
              <a:t>Financial Controller</a:t>
            </a:r>
          </a:p>
          <a:p>
            <a:endParaRPr lang="en-US" sz="1000" dirty="0" smtClean="0"/>
          </a:p>
          <a:p>
            <a:r>
              <a:rPr lang="en-US" sz="800" dirty="0" smtClean="0"/>
              <a:t>UPC                                            </a:t>
            </a:r>
            <a:r>
              <a:rPr lang="en-US" sz="800" b="1" dirty="0" smtClean="0"/>
              <a:t>1Y</a:t>
            </a:r>
            <a:endParaRPr lang="en-US" sz="8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5604985" y="5775568"/>
            <a:ext cx="1785950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Reporting Analyst</a:t>
            </a:r>
          </a:p>
          <a:p>
            <a:endParaRPr lang="en-US" sz="1000" dirty="0" smtClean="0">
              <a:solidFill>
                <a:schemeClr val="tx2"/>
              </a:solidFill>
            </a:endParaRP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0.6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785918" y="4500570"/>
            <a:ext cx="1785950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Reporting Manager</a:t>
            </a:r>
          </a:p>
          <a:p>
            <a:endParaRPr lang="en-US" sz="1000" dirty="0" smtClean="0">
              <a:solidFill>
                <a:schemeClr val="tx2"/>
              </a:solidFill>
            </a:endParaRP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1.5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43372" y="4500570"/>
            <a:ext cx="1928826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HSB FP&amp;A Controller</a:t>
            </a:r>
          </a:p>
          <a:p>
            <a:endParaRPr lang="en-US" sz="1000" dirty="0" smtClean="0">
              <a:solidFill>
                <a:schemeClr val="tx2"/>
              </a:solidFill>
            </a:endParaRP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2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429256" y="3714752"/>
            <a:ext cx="1370520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CER Channel Controller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2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17" name="Right Arrow 16"/>
          <p:cNvSpPr/>
          <p:nvPr/>
        </p:nvSpPr>
        <p:spPr bwMode="auto">
          <a:xfrm>
            <a:off x="1379062" y="6533492"/>
            <a:ext cx="5143536" cy="45719"/>
          </a:xfrm>
          <a:prstGeom prst="rightArrow">
            <a:avLst/>
          </a:prstGeom>
          <a:solidFill>
            <a:srgbClr val="FF000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>
            <a:off x="2571736" y="5236722"/>
            <a:ext cx="3357586" cy="45719"/>
          </a:xfrm>
          <a:prstGeom prst="rightArrow">
            <a:avLst/>
          </a:prstGeom>
          <a:solidFill>
            <a:srgbClr val="FF000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14265585">
            <a:off x="6839738" y="4366321"/>
            <a:ext cx="750937" cy="55708"/>
          </a:xfrm>
          <a:prstGeom prst="rightArrow">
            <a:avLst/>
          </a:prstGeom>
          <a:solidFill>
            <a:srgbClr val="FF000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139336" y="790972"/>
            <a:ext cx="928694" cy="21431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tx2"/>
                </a:solidFill>
              </a:rPr>
              <a:t>DELL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142364" y="1059833"/>
            <a:ext cx="928694" cy="21431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800" dirty="0" smtClean="0"/>
              <a:t>OUTSIDE DELL</a:t>
            </a:r>
            <a:endParaRPr lang="en-US" sz="8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7929586" y="5877657"/>
            <a:ext cx="5000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2.6Y</a:t>
            </a:r>
            <a:endParaRPr lang="en-US" sz="12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7929586" y="3747774"/>
            <a:ext cx="5000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Y</a:t>
            </a:r>
            <a:endParaRPr lang="en-US" sz="1200" b="1" dirty="0"/>
          </a:p>
        </p:txBody>
      </p:sp>
      <p:sp>
        <p:nvSpPr>
          <p:cNvPr id="25" name="Oval 24"/>
          <p:cNvSpPr/>
          <p:nvPr/>
        </p:nvSpPr>
        <p:spPr bwMode="auto">
          <a:xfrm>
            <a:off x="2697103" y="5997519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26" name="Oval 25"/>
          <p:cNvSpPr/>
          <p:nvPr/>
        </p:nvSpPr>
        <p:spPr bwMode="auto">
          <a:xfrm>
            <a:off x="3643306" y="4714884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latin typeface="Arial" charset="0"/>
              </a:rPr>
              <a:t>2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Oval 26"/>
          <p:cNvSpPr/>
          <p:nvPr/>
        </p:nvSpPr>
        <p:spPr bwMode="auto">
          <a:xfrm>
            <a:off x="6215074" y="4714884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latin typeface="Arial" charset="0"/>
              </a:rPr>
              <a:t>3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142844" y="928670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2910" y="1000108"/>
            <a:ext cx="29289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University of Economics - Masters</a:t>
            </a:r>
            <a:endParaRPr lang="en-US" sz="1000" dirty="0"/>
          </a:p>
        </p:txBody>
      </p:sp>
      <p:sp>
        <p:nvSpPr>
          <p:cNvPr id="30" name="Oval 29"/>
          <p:cNvSpPr/>
          <p:nvPr/>
        </p:nvSpPr>
        <p:spPr bwMode="auto">
          <a:xfrm>
            <a:off x="142844" y="1428736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latin typeface="Arial" charset="0"/>
              </a:rPr>
              <a:t>2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42910" y="1500174"/>
            <a:ext cx="27860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CCA – Association of Chartered  Certified    	Accountants</a:t>
            </a:r>
            <a:endParaRPr lang="en-US" sz="1000" dirty="0"/>
          </a:p>
        </p:txBody>
      </p:sp>
      <p:sp>
        <p:nvSpPr>
          <p:cNvPr id="32" name="Oval 31"/>
          <p:cNvSpPr/>
          <p:nvPr/>
        </p:nvSpPr>
        <p:spPr bwMode="auto">
          <a:xfrm>
            <a:off x="142844" y="2000240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latin typeface="Arial" charset="0"/>
              </a:rPr>
              <a:t>3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42910" y="2000240"/>
            <a:ext cx="27860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CIA – Certified Internal Auditor</a:t>
            </a:r>
            <a:endParaRPr lang="en-US" sz="1000" dirty="0"/>
          </a:p>
        </p:txBody>
      </p:sp>
      <p:sp>
        <p:nvSpPr>
          <p:cNvPr id="35" name="Rectangle 34"/>
          <p:cNvSpPr/>
          <p:nvPr/>
        </p:nvSpPr>
        <p:spPr bwMode="auto">
          <a:xfrm>
            <a:off x="5853320" y="719534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139072" y="648096"/>
            <a:ext cx="15001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Compliance/Accounting</a:t>
            </a:r>
            <a:endParaRPr lang="en-US" sz="900" dirty="0"/>
          </a:p>
        </p:txBody>
      </p:sp>
      <p:sp>
        <p:nvSpPr>
          <p:cNvPr id="37" name="Rectangle 36"/>
          <p:cNvSpPr/>
          <p:nvPr/>
        </p:nvSpPr>
        <p:spPr bwMode="auto">
          <a:xfrm>
            <a:off x="5853320" y="933848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139072" y="862410"/>
            <a:ext cx="1857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Corporate (Planning/Reporting)</a:t>
            </a:r>
            <a:endParaRPr lang="en-US" sz="900" dirty="0"/>
          </a:p>
        </p:txBody>
      </p:sp>
      <p:sp>
        <p:nvSpPr>
          <p:cNvPr id="39" name="Rectangle 38"/>
          <p:cNvSpPr/>
          <p:nvPr/>
        </p:nvSpPr>
        <p:spPr bwMode="auto">
          <a:xfrm>
            <a:off x="2132222" y="6319178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5066880" y="6336186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7159613" y="6336186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3329660" y="5033294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5857884" y="5050302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5853320" y="1148162"/>
            <a:ext cx="214314" cy="142876"/>
          </a:xfrm>
          <a:prstGeom prst="rect">
            <a:avLst/>
          </a:prstGeom>
          <a:solidFill>
            <a:srgbClr val="99FF33"/>
          </a:solidFill>
          <a:ln w="38100" cap="flat" cmpd="sng" algn="ctr">
            <a:solidFill>
              <a:srgbClr val="99FF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139072" y="1076724"/>
            <a:ext cx="1857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Sales (Segment)</a:t>
            </a:r>
            <a:endParaRPr lang="en-US" sz="900" dirty="0"/>
          </a:p>
        </p:txBody>
      </p:sp>
      <p:sp>
        <p:nvSpPr>
          <p:cNvPr id="46" name="Rectangle 45"/>
          <p:cNvSpPr/>
          <p:nvPr/>
        </p:nvSpPr>
        <p:spPr bwMode="auto">
          <a:xfrm>
            <a:off x="6568454" y="4275370"/>
            <a:ext cx="214314" cy="142876"/>
          </a:xfrm>
          <a:prstGeom prst="rect">
            <a:avLst/>
          </a:prstGeom>
          <a:solidFill>
            <a:srgbClr val="99FF33"/>
          </a:solidFill>
          <a:ln w="38100" cap="flat" cmpd="sng" algn="ctr">
            <a:solidFill>
              <a:srgbClr val="99FF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5853320" y="1362476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139072" y="1291038"/>
            <a:ext cx="1857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People Management</a:t>
            </a:r>
            <a:endParaRPr lang="en-US" sz="900" dirty="0"/>
          </a:p>
        </p:txBody>
      </p:sp>
      <p:sp>
        <p:nvSpPr>
          <p:cNvPr id="49" name="Rectangle 48"/>
          <p:cNvSpPr/>
          <p:nvPr/>
        </p:nvSpPr>
        <p:spPr bwMode="auto">
          <a:xfrm>
            <a:off x="3071802" y="5039416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5604790" y="5050302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5357818" y="5050302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6321482" y="4275370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816196" y="3717032"/>
            <a:ext cx="1510688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IT Finance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FP&amp;A (US)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1</a:t>
            </a:r>
            <a:r>
              <a:rPr lang="en-US" sz="800" b="1" dirty="0" smtClean="0">
                <a:solidFill>
                  <a:schemeClr val="tx2"/>
                </a:solidFill>
              </a:rPr>
              <a:t>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5110860" y="4221088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5860160" y="1589044"/>
            <a:ext cx="214314" cy="142876"/>
          </a:xfrm>
          <a:prstGeom prst="rect">
            <a:avLst/>
          </a:prstGeom>
          <a:solidFill>
            <a:srgbClr val="FFFF00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148192" y="1547732"/>
            <a:ext cx="1857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International Assignment</a:t>
            </a:r>
            <a:endParaRPr lang="en-US" sz="900" dirty="0"/>
          </a:p>
        </p:txBody>
      </p:sp>
      <p:sp>
        <p:nvSpPr>
          <p:cNvPr id="57" name="Rectangle 56"/>
          <p:cNvSpPr/>
          <p:nvPr/>
        </p:nvSpPr>
        <p:spPr bwMode="auto">
          <a:xfrm>
            <a:off x="4855080" y="4221088"/>
            <a:ext cx="214314" cy="142876"/>
          </a:xfrm>
          <a:prstGeom prst="rect">
            <a:avLst/>
          </a:prstGeom>
          <a:solidFill>
            <a:srgbClr val="FFFF00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700276" y="977826"/>
            <a:ext cx="1944216" cy="714380"/>
          </a:xfrm>
          <a:prstGeom prst="rect">
            <a:avLst/>
          </a:prstGeom>
          <a:solidFill>
            <a:srgbClr val="990099"/>
          </a:solidFill>
          <a:ln w="38100"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Finance/Business Leader</a:t>
            </a:r>
          </a:p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DELL /ANYWHERE                         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5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278712" y="3687996"/>
            <a:ext cx="1469964" cy="73127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Competitive Analytics (US)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1</a:t>
            </a:r>
            <a:r>
              <a:rPr lang="en-US" sz="800" b="1" dirty="0" smtClean="0">
                <a:solidFill>
                  <a:schemeClr val="tx2"/>
                </a:solidFill>
              </a:rPr>
              <a:t>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3485962" y="4231511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3192167" y="4224261"/>
            <a:ext cx="214314" cy="142876"/>
          </a:xfrm>
          <a:prstGeom prst="rect">
            <a:avLst/>
          </a:prstGeom>
          <a:solidFill>
            <a:srgbClr val="FFFF00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5" name="Right Arrow 64"/>
          <p:cNvSpPr/>
          <p:nvPr/>
        </p:nvSpPr>
        <p:spPr bwMode="auto">
          <a:xfrm rot="18472066">
            <a:off x="1613241" y="3794934"/>
            <a:ext cx="750937" cy="55708"/>
          </a:xfrm>
          <a:prstGeom prst="rightArrow">
            <a:avLst/>
          </a:prstGeom>
          <a:solidFill>
            <a:srgbClr val="FF000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836886" y="2911794"/>
            <a:ext cx="1469964" cy="7312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8575">
            <a:noFill/>
            <a:prstDash val="sysDash"/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BU Accounting Sr. Manager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1</a:t>
            </a:r>
            <a:r>
              <a:rPr lang="en-US" sz="800" b="1" dirty="0" smtClean="0">
                <a:solidFill>
                  <a:schemeClr val="tx2"/>
                </a:solidFill>
              </a:rPr>
              <a:t>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3770867" y="3448301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4036215" y="3443755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495076" y="2911794"/>
            <a:ext cx="1826406" cy="7312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8575">
            <a:noFill/>
            <a:prstDash val="sysDash"/>
          </a:ln>
        </p:spPr>
        <p:txBody>
          <a:bodyPr wrap="square" rtlCol="0">
            <a:noAutofit/>
          </a:bodyPr>
          <a:lstStyle/>
          <a:p>
            <a:r>
              <a:rPr lang="en-US" sz="1400" dirty="0" smtClean="0">
                <a:solidFill>
                  <a:schemeClr val="tx2"/>
                </a:solidFill>
              </a:rPr>
              <a:t>Country Accounting Sr. Manager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6M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5819104" y="3448301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0" name="Rectangle 69"/>
          <p:cNvSpPr/>
          <p:nvPr/>
        </p:nvSpPr>
        <p:spPr bwMode="auto">
          <a:xfrm>
            <a:off x="6072198" y="3448301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4168205" y="3086565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4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Oval 71"/>
          <p:cNvSpPr/>
          <p:nvPr/>
        </p:nvSpPr>
        <p:spPr bwMode="auto">
          <a:xfrm>
            <a:off x="142844" y="2492487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4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32252" y="2588747"/>
            <a:ext cx="27860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CTP– Certified Treasury </a:t>
            </a:r>
          </a:p>
          <a:p>
            <a:r>
              <a:rPr lang="en-US" sz="1000" dirty="0" smtClean="0"/>
              <a:t>Professional</a:t>
            </a:r>
            <a:endParaRPr lang="en-US" sz="1000" dirty="0"/>
          </a:p>
        </p:txBody>
      </p:sp>
      <p:sp>
        <p:nvSpPr>
          <p:cNvPr id="74" name="TextBox 73"/>
          <p:cNvSpPr txBox="1"/>
          <p:nvPr/>
        </p:nvSpPr>
        <p:spPr>
          <a:xfrm>
            <a:off x="2747517" y="1778564"/>
            <a:ext cx="1651588" cy="656133"/>
          </a:xfrm>
          <a:prstGeom prst="rect">
            <a:avLst/>
          </a:prstGeom>
          <a:noFill/>
          <a:ln w="28575">
            <a:solidFill>
              <a:schemeClr val="tx1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 b="1" dirty="0" smtClean="0">
                <a:solidFill>
                  <a:sysClr val="windowText" lastClr="000000"/>
                </a:solidFill>
              </a:rPr>
              <a:t>Global Operations/</a:t>
            </a:r>
          </a:p>
          <a:p>
            <a:pPr algn="ctr"/>
            <a:r>
              <a:rPr lang="en-US" sz="1100" b="1" dirty="0" smtClean="0">
                <a:solidFill>
                  <a:sysClr val="windowText" lastClr="000000"/>
                </a:solidFill>
              </a:rPr>
              <a:t>WW Procurement</a:t>
            </a:r>
            <a:endParaRPr lang="en-US" sz="1100" b="1" dirty="0">
              <a:solidFill>
                <a:sysClr val="windowText" lastClr="000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596833" y="1770790"/>
            <a:ext cx="1651588" cy="656133"/>
          </a:xfrm>
          <a:prstGeom prst="rect">
            <a:avLst/>
          </a:prstGeom>
          <a:noFill/>
          <a:ln w="28575">
            <a:solidFill>
              <a:schemeClr val="tx1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 b="1" dirty="0" smtClean="0">
                <a:solidFill>
                  <a:sysClr val="windowText" lastClr="000000"/>
                </a:solidFill>
              </a:rPr>
              <a:t>Financial Services</a:t>
            </a:r>
            <a:endParaRPr lang="en-US" sz="11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88012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ell evolu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81116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9018" y="1346201"/>
            <a:ext cx="4694982" cy="405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0801" y="224190"/>
            <a:ext cx="8239126" cy="400650"/>
          </a:xfrm>
        </p:spPr>
        <p:txBody>
          <a:bodyPr/>
          <a:lstStyle/>
          <a:p>
            <a:r>
              <a:rPr lang="en-US" sz="2800" dirty="0" smtClean="0"/>
              <a:t>Pattern of International expansion</a:t>
            </a:r>
            <a:endParaRPr lang="en-US" sz="2800" dirty="0"/>
          </a:p>
        </p:txBody>
      </p:sp>
      <p:sp>
        <p:nvSpPr>
          <p:cNvPr id="6" name="TextBox 5"/>
          <p:cNvSpPr txBox="1"/>
          <p:nvPr/>
        </p:nvSpPr>
        <p:spPr>
          <a:xfrm>
            <a:off x="355601" y="973667"/>
            <a:ext cx="3784600" cy="185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Daniels &amp; </a:t>
            </a:r>
            <a:r>
              <a:rPr lang="en-US" sz="2000" b="1" dirty="0" err="1" smtClean="0">
                <a:solidFill>
                  <a:schemeClr val="bg2"/>
                </a:solidFill>
                <a:latin typeface="+mn-lt"/>
              </a:rPr>
              <a:t>Radebaugh’s</a:t>
            </a: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 model:</a:t>
            </a:r>
            <a:endParaRPr lang="en-US" sz="2000" b="1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 organization’s extent of globalization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5601" y="1979679"/>
            <a:ext cx="4572000" cy="178510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Patterns of international expansion: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2"/>
                </a:solidFill>
                <a:latin typeface="+mn-lt"/>
              </a:rPr>
              <a:t>Passive to active </a:t>
            </a: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expansion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2"/>
                </a:solidFill>
                <a:latin typeface="+mn-lt"/>
              </a:rPr>
              <a:t>External to internal </a:t>
            </a: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handling of operations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2"/>
                </a:solidFill>
                <a:latin typeface="+mn-lt"/>
              </a:rPr>
              <a:t>Deepening </a:t>
            </a: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mode of commitment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2"/>
                </a:solidFill>
                <a:latin typeface="+mn-lt"/>
              </a:rPr>
              <a:t>Geographical </a:t>
            </a: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diversification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574238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" name="Group 1033"/>
          <p:cNvGrpSpPr/>
          <p:nvPr/>
        </p:nvGrpSpPr>
        <p:grpSpPr>
          <a:xfrm>
            <a:off x="3851461" y="1278729"/>
            <a:ext cx="5292539" cy="4572000"/>
            <a:chOff x="3875129" y="842390"/>
            <a:chExt cx="5292539" cy="4572000"/>
          </a:xfrm>
        </p:grpSpPr>
        <p:pic>
          <p:nvPicPr>
            <p:cNvPr id="1026" name="Picture 2" descr="http://cdn.grin.com/images/preview-object/document.214796/cd0212ff67668088e4f202352b7e2a9d_LARGE.pn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5129" y="842390"/>
              <a:ext cx="5292539" cy="45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3" name="Oval 1032"/>
            <p:cNvSpPr/>
            <p:nvPr/>
          </p:nvSpPr>
          <p:spPr>
            <a:xfrm>
              <a:off x="6111240" y="2628900"/>
              <a:ext cx="609600" cy="594360"/>
            </a:xfrm>
            <a:prstGeom prst="ellipse">
              <a:avLst/>
            </a:prstGeom>
            <a:solidFill>
              <a:schemeClr val="bg1">
                <a:lumMod val="60000"/>
                <a:lumOff val="40000"/>
                <a:alpha val="45000"/>
              </a:schemeClr>
            </a:solidFill>
            <a:ln w="38100">
              <a:solidFill>
                <a:schemeClr val="bg1"/>
              </a:solidFill>
            </a:ln>
            <a:effectLst/>
          </p:spPr>
          <p:txBody>
            <a:bodyPr wrap="square" rtlCol="0" anchor="t">
              <a:normAutofit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en-US" sz="2000" kern="120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0801" y="224190"/>
            <a:ext cx="8239126" cy="400650"/>
          </a:xfrm>
        </p:spPr>
        <p:txBody>
          <a:bodyPr/>
          <a:lstStyle/>
          <a:p>
            <a:r>
              <a:rPr lang="en-US" sz="2800" dirty="0" smtClean="0"/>
              <a:t>Birth and Childhood (1983-1987)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163641" y="711990"/>
            <a:ext cx="4189752" cy="4165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1983-Dorm room business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1984-Dell Computer Corporation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Dell Direct model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Production only in USA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Penetrating US market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     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1985- revenue growth from $6M to $70M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Support services introduced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864257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239126" cy="500438"/>
          </a:xfrm>
        </p:spPr>
        <p:txBody>
          <a:bodyPr/>
          <a:lstStyle/>
          <a:p>
            <a:r>
              <a:rPr lang="en-US" sz="2800" dirty="0"/>
              <a:t>Start of international expansion (</a:t>
            </a:r>
            <a:r>
              <a:rPr lang="en-US" sz="2800" dirty="0" smtClean="0"/>
              <a:t>1987-1991)</a:t>
            </a:r>
            <a:endParaRPr lang="en-US" sz="2800" dirty="0"/>
          </a:p>
        </p:txBody>
      </p:sp>
      <p:pic>
        <p:nvPicPr>
          <p:cNvPr id="1026" name="Picture 2" descr="C:\Users\Lukas_Stecak\Desktop\FDP\Internacionalizacia\world map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1" y="1799272"/>
            <a:ext cx="7367591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49580" y="824387"/>
            <a:ext cx="2598420" cy="725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chemeClr val="bg2"/>
                </a:solidFill>
                <a:latin typeface="+mj-lt"/>
              </a:rPr>
              <a:t>Legend: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0070C0"/>
                </a:solidFill>
                <a:latin typeface="+mj-lt"/>
              </a:rPr>
              <a:t>HQ/Subsidiary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C00000"/>
                </a:solidFill>
                <a:latin typeface="+mj-lt"/>
              </a:rPr>
              <a:t>Manufacture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236220" y="3071184"/>
            <a:ext cx="693420" cy="479735"/>
          </a:xfrm>
          <a:prstGeom prst="wedgeRoundRectCallout">
            <a:avLst>
              <a:gd name="adj1" fmla="val 167022"/>
              <a:gd name="adj2" fmla="val -56929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HQ in Austin, Texas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6220" y="3696651"/>
            <a:ext cx="693420" cy="479735"/>
          </a:xfrm>
          <a:prstGeom prst="wedgeRoundRectCallout">
            <a:avLst>
              <a:gd name="adj1" fmla="val 169220"/>
              <a:gd name="adj2" fmla="val -187176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Austin, Texa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820" y="2678992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4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2152650" y="1255306"/>
            <a:ext cx="895350" cy="369332"/>
          </a:xfrm>
          <a:prstGeom prst="wedgeRoundRectCallout">
            <a:avLst>
              <a:gd name="adj1" fmla="val -29308"/>
              <a:gd name="adj2" fmla="val 318998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anada 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7874322" y="1967045"/>
            <a:ext cx="1079178" cy="362663"/>
          </a:xfrm>
          <a:prstGeom prst="wedgeRoundRectCallout">
            <a:avLst>
              <a:gd name="adj1" fmla="val -406502"/>
              <a:gd name="adj2" fmla="val 104451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dirty="0" smtClean="0">
                <a:solidFill>
                  <a:schemeClr val="tx2"/>
                </a:solidFill>
                <a:latin typeface="+mn-lt"/>
              </a:rPr>
              <a:t>West </a:t>
            </a: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German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28825" y="885974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8</a:t>
            </a:r>
          </a:p>
        </p:txBody>
      </p:sp>
      <p:sp>
        <p:nvSpPr>
          <p:cNvPr id="14" name="Rounded Rectangular Callout 13"/>
          <p:cNvSpPr/>
          <p:nvPr/>
        </p:nvSpPr>
        <p:spPr>
          <a:xfrm>
            <a:off x="4124680" y="1187050"/>
            <a:ext cx="1001320" cy="553999"/>
          </a:xfrm>
          <a:prstGeom prst="wedgeRoundRectCallout">
            <a:avLst>
              <a:gd name="adj1" fmla="val -82973"/>
              <a:gd name="adj2" fmla="val 185812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al HQ United Kingdo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53840" y="88316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7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022912" y="163416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8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7750497" y="2708521"/>
            <a:ext cx="895350" cy="362663"/>
          </a:xfrm>
          <a:prstGeom prst="wedgeRoundRectCallout">
            <a:avLst>
              <a:gd name="adj1" fmla="val -445477"/>
              <a:gd name="adj2" fmla="val -97257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oland</a:t>
            </a:r>
          </a:p>
        </p:txBody>
      </p:sp>
      <p:sp>
        <p:nvSpPr>
          <p:cNvPr id="18" name="Rounded Rectangular Callout 17"/>
          <p:cNvSpPr/>
          <p:nvPr/>
        </p:nvSpPr>
        <p:spPr>
          <a:xfrm>
            <a:off x="7554760" y="3490122"/>
            <a:ext cx="1286823" cy="362663"/>
          </a:xfrm>
          <a:prstGeom prst="wedgeRoundRectCallout">
            <a:avLst>
              <a:gd name="adj1" fmla="val -316532"/>
              <a:gd name="adj2" fmla="val -298964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550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zechoslovakia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901949" y="2329708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55289" y="3117380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3202304" y="1143001"/>
            <a:ext cx="851535" cy="534026"/>
          </a:xfrm>
          <a:prstGeom prst="wedgeRoundRectCallout">
            <a:avLst>
              <a:gd name="adj1" fmla="val 9439"/>
              <a:gd name="adj2" fmla="val 20550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Limerick, Ireland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056571" y="784543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25" name="Rounded Rectangular Callout 24"/>
          <p:cNvSpPr/>
          <p:nvPr/>
        </p:nvSpPr>
        <p:spPr>
          <a:xfrm>
            <a:off x="3227553" y="5275540"/>
            <a:ext cx="894867" cy="362663"/>
          </a:xfrm>
          <a:prstGeom prst="wedgeRoundRectCallout">
            <a:avLst>
              <a:gd name="adj1" fmla="val 13529"/>
              <a:gd name="adj2" fmla="val -717088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pain</a:t>
            </a:r>
          </a:p>
        </p:txBody>
      </p:sp>
      <p:sp>
        <p:nvSpPr>
          <p:cNvPr id="26" name="Rounded Rectangular Callout 25"/>
          <p:cNvSpPr/>
          <p:nvPr/>
        </p:nvSpPr>
        <p:spPr>
          <a:xfrm>
            <a:off x="4199571" y="5275540"/>
            <a:ext cx="894867" cy="362663"/>
          </a:xfrm>
          <a:prstGeom prst="wedgeRoundRectCallout">
            <a:avLst>
              <a:gd name="adj1" fmla="val -84397"/>
              <a:gd name="adj2" fmla="val -775920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France</a:t>
            </a:r>
          </a:p>
        </p:txBody>
      </p:sp>
      <p:sp>
        <p:nvSpPr>
          <p:cNvPr id="27" name="Rounded Rectangular Callout 26"/>
          <p:cNvSpPr/>
          <p:nvPr/>
        </p:nvSpPr>
        <p:spPr>
          <a:xfrm>
            <a:off x="5196840" y="1238072"/>
            <a:ext cx="895350" cy="369332"/>
          </a:xfrm>
          <a:prstGeom prst="wedgeRoundRectCallout">
            <a:avLst>
              <a:gd name="adj1" fmla="val -179945"/>
              <a:gd name="adj2" fmla="val 240094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rway</a:t>
            </a:r>
          </a:p>
        </p:txBody>
      </p:sp>
      <p:sp>
        <p:nvSpPr>
          <p:cNvPr id="28" name="Rounded Rectangular Callout 27"/>
          <p:cNvSpPr/>
          <p:nvPr/>
        </p:nvSpPr>
        <p:spPr>
          <a:xfrm>
            <a:off x="6313170" y="1297933"/>
            <a:ext cx="895350" cy="369332"/>
          </a:xfrm>
          <a:prstGeom prst="wedgeRoundRectCallout">
            <a:avLst>
              <a:gd name="adj1" fmla="val -294839"/>
              <a:gd name="adj2" fmla="val 227715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weden</a:t>
            </a:r>
          </a:p>
        </p:txBody>
      </p:sp>
      <p:sp>
        <p:nvSpPr>
          <p:cNvPr id="29" name="Rounded Rectangular Callout 28"/>
          <p:cNvSpPr/>
          <p:nvPr/>
        </p:nvSpPr>
        <p:spPr>
          <a:xfrm>
            <a:off x="7224717" y="1556383"/>
            <a:ext cx="895350" cy="369332"/>
          </a:xfrm>
          <a:prstGeom prst="wedgeRoundRectCallout">
            <a:avLst>
              <a:gd name="adj1" fmla="val -376541"/>
              <a:gd name="adj2" fmla="val 153440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nland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73015" y="871969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189345" y="92860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100892" y="118705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3" name="Rounded Rectangular Callout 32"/>
          <p:cNvSpPr/>
          <p:nvPr/>
        </p:nvSpPr>
        <p:spPr>
          <a:xfrm>
            <a:off x="5187798" y="5275540"/>
            <a:ext cx="1125372" cy="362663"/>
          </a:xfrm>
          <a:prstGeom prst="wedgeRoundRectCallout">
            <a:avLst>
              <a:gd name="adj1" fmla="val -161285"/>
              <a:gd name="adj2" fmla="val -801134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elgium &amp; Luxembourg</a:t>
            </a:r>
          </a:p>
        </p:txBody>
      </p:sp>
      <p:sp>
        <p:nvSpPr>
          <p:cNvPr id="34" name="Rounded Rectangular Callout 33"/>
          <p:cNvSpPr/>
          <p:nvPr/>
        </p:nvSpPr>
        <p:spPr>
          <a:xfrm>
            <a:off x="996556" y="5289706"/>
            <a:ext cx="894867" cy="362663"/>
          </a:xfrm>
          <a:prstGeom prst="wedgeRoundRectCallout">
            <a:avLst>
              <a:gd name="adj1" fmla="val 17787"/>
              <a:gd name="adj2" fmla="val -605729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exico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72490" y="5652369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103486" y="5627838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075504" y="563486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178984" y="563486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9" name="Rounded Rectangular Callout 38"/>
          <p:cNvSpPr/>
          <p:nvPr/>
        </p:nvSpPr>
        <p:spPr>
          <a:xfrm>
            <a:off x="6423673" y="5292206"/>
            <a:ext cx="1125372" cy="362663"/>
          </a:xfrm>
          <a:prstGeom prst="wedgeRoundRectCallout">
            <a:avLst>
              <a:gd name="adj1" fmla="val -266914"/>
              <a:gd name="adj2" fmla="val -815842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etherland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411760" y="5627838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</p:spTree>
    <p:extLst>
      <p:ext uri="{BB962C8B-B14F-4D97-AF65-F5344CB8AC3E}">
        <p14:creationId xmlns:p14="http://schemas.microsoft.com/office/powerpoint/2010/main" val="329134627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/>
      <p:bldP spid="14" grpId="0" animBg="1"/>
      <p:bldP spid="15" grpId="0"/>
      <p:bldP spid="16" grpId="0"/>
      <p:bldP spid="17" grpId="0" animBg="1"/>
      <p:bldP spid="18" grpId="0" animBg="1"/>
      <p:bldP spid="19" grpId="0"/>
      <p:bldP spid="20" grpId="0"/>
      <p:bldP spid="23" grpId="0" animBg="1"/>
      <p:bldP spid="24" grpId="0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/>
      <p:bldP spid="32" grpId="0"/>
      <p:bldP spid="33" grpId="0" animBg="1"/>
      <p:bldP spid="34" grpId="0" animBg="1"/>
      <p:bldP spid="35" grpId="0"/>
      <p:bldP spid="36" grpId="0"/>
      <p:bldP spid="37" grpId="0"/>
      <p:bldP spid="38" grpId="0"/>
      <p:bldP spid="39" grpId="0" animBg="1"/>
      <p:bldP spid="4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C’s in the Mid 1990’s…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8025" y="688435"/>
            <a:ext cx="3795280" cy="5461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7246865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Start of international expansion (1987-1991)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239841" y="1077750"/>
            <a:ext cx="4189752" cy="3915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Challenges of internationalization: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FX Issue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Logistics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Geopolitics situation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Competition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Language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Customer behavior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5288280" y="3368040"/>
            <a:ext cx="129540" cy="403860"/>
          </a:xfrm>
          <a:custGeom>
            <a:avLst/>
            <a:gdLst>
              <a:gd name="connsiteX0" fmla="*/ 0 w 129540"/>
              <a:gd name="connsiteY0" fmla="*/ 403860 h 403860"/>
              <a:gd name="connsiteX1" fmla="*/ 0 w 129540"/>
              <a:gd name="connsiteY1" fmla="*/ 403860 h 403860"/>
              <a:gd name="connsiteX2" fmla="*/ 15240 w 129540"/>
              <a:gd name="connsiteY2" fmla="*/ 266700 h 403860"/>
              <a:gd name="connsiteX3" fmla="*/ 30480 w 129540"/>
              <a:gd name="connsiteY3" fmla="*/ 228600 h 403860"/>
              <a:gd name="connsiteX4" fmla="*/ 60960 w 129540"/>
              <a:gd name="connsiteY4" fmla="*/ 175260 h 403860"/>
              <a:gd name="connsiteX5" fmla="*/ 91440 w 129540"/>
              <a:gd name="connsiteY5" fmla="*/ 114300 h 403860"/>
              <a:gd name="connsiteX6" fmla="*/ 106680 w 129540"/>
              <a:gd name="connsiteY6" fmla="*/ 68580 h 403860"/>
              <a:gd name="connsiteX7" fmla="*/ 121920 w 129540"/>
              <a:gd name="connsiteY7" fmla="*/ 7620 h 403860"/>
              <a:gd name="connsiteX8" fmla="*/ 129540 w 129540"/>
              <a:gd name="connsiteY8" fmla="*/ 0 h 4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9540" h="403860">
                <a:moveTo>
                  <a:pt x="0" y="403860"/>
                </a:moveTo>
                <a:lnTo>
                  <a:pt x="0" y="403860"/>
                </a:lnTo>
                <a:lnTo>
                  <a:pt x="15240" y="266700"/>
                </a:lnTo>
                <a:cubicBezTo>
                  <a:pt x="16751" y="253105"/>
                  <a:pt x="24925" y="241099"/>
                  <a:pt x="30480" y="228600"/>
                </a:cubicBezTo>
                <a:cubicBezTo>
                  <a:pt x="59589" y="163105"/>
                  <a:pt x="31540" y="229197"/>
                  <a:pt x="60960" y="175260"/>
                </a:cubicBezTo>
                <a:cubicBezTo>
                  <a:pt x="71839" y="155316"/>
                  <a:pt x="81280" y="134620"/>
                  <a:pt x="91440" y="114300"/>
                </a:cubicBezTo>
                <a:cubicBezTo>
                  <a:pt x="98624" y="99932"/>
                  <a:pt x="103530" y="84332"/>
                  <a:pt x="106680" y="68580"/>
                </a:cubicBezTo>
                <a:cubicBezTo>
                  <a:pt x="109578" y="54089"/>
                  <a:pt x="114110" y="23241"/>
                  <a:pt x="121920" y="7620"/>
                </a:cubicBezTo>
                <a:cubicBezTo>
                  <a:pt x="123526" y="4407"/>
                  <a:pt x="127000" y="2540"/>
                  <a:pt x="129540" y="0"/>
                </a:cubicBez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450" y="1344450"/>
            <a:ext cx="5292539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 8"/>
          <p:cNvSpPr/>
          <p:nvPr/>
        </p:nvSpPr>
        <p:spPr>
          <a:xfrm>
            <a:off x="5836920" y="2804160"/>
            <a:ext cx="137160" cy="815340"/>
          </a:xfrm>
          <a:custGeom>
            <a:avLst/>
            <a:gdLst>
              <a:gd name="connsiteX0" fmla="*/ 0 w 137160"/>
              <a:gd name="connsiteY0" fmla="*/ 815340 h 815340"/>
              <a:gd name="connsiteX1" fmla="*/ 0 w 137160"/>
              <a:gd name="connsiteY1" fmla="*/ 815340 h 815340"/>
              <a:gd name="connsiteX2" fmla="*/ 7620 w 137160"/>
              <a:gd name="connsiteY2" fmla="*/ 662940 h 815340"/>
              <a:gd name="connsiteX3" fmla="*/ 15240 w 137160"/>
              <a:gd name="connsiteY3" fmla="*/ 563880 h 815340"/>
              <a:gd name="connsiteX4" fmla="*/ 22860 w 137160"/>
              <a:gd name="connsiteY4" fmla="*/ 449580 h 815340"/>
              <a:gd name="connsiteX5" fmla="*/ 30480 w 137160"/>
              <a:gd name="connsiteY5" fmla="*/ 198120 h 815340"/>
              <a:gd name="connsiteX6" fmla="*/ 45720 w 137160"/>
              <a:gd name="connsiteY6" fmla="*/ 53340 h 815340"/>
              <a:gd name="connsiteX7" fmla="*/ 60960 w 137160"/>
              <a:gd name="connsiteY7" fmla="*/ 30480 h 815340"/>
              <a:gd name="connsiteX8" fmla="*/ 121920 w 137160"/>
              <a:gd name="connsiteY8" fmla="*/ 15240 h 815340"/>
              <a:gd name="connsiteX9" fmla="*/ 137160 w 137160"/>
              <a:gd name="connsiteY9" fmla="*/ 0 h 815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7160" h="815340">
                <a:moveTo>
                  <a:pt x="0" y="815340"/>
                </a:moveTo>
                <a:lnTo>
                  <a:pt x="0" y="815340"/>
                </a:lnTo>
                <a:cubicBezTo>
                  <a:pt x="2540" y="764540"/>
                  <a:pt x="4543" y="713710"/>
                  <a:pt x="7620" y="662940"/>
                </a:cubicBezTo>
                <a:cubicBezTo>
                  <a:pt x="9623" y="629883"/>
                  <a:pt x="12880" y="596913"/>
                  <a:pt x="15240" y="563880"/>
                </a:cubicBezTo>
                <a:cubicBezTo>
                  <a:pt x="17961" y="525792"/>
                  <a:pt x="20320" y="487680"/>
                  <a:pt x="22860" y="449580"/>
                </a:cubicBezTo>
                <a:cubicBezTo>
                  <a:pt x="25400" y="365760"/>
                  <a:pt x="25650" y="281839"/>
                  <a:pt x="30480" y="198120"/>
                </a:cubicBezTo>
                <a:cubicBezTo>
                  <a:pt x="33275" y="149674"/>
                  <a:pt x="18802" y="93717"/>
                  <a:pt x="45720" y="53340"/>
                </a:cubicBezTo>
                <a:cubicBezTo>
                  <a:pt x="50800" y="45720"/>
                  <a:pt x="53809" y="36201"/>
                  <a:pt x="60960" y="30480"/>
                </a:cubicBezTo>
                <a:cubicBezTo>
                  <a:pt x="69495" y="23652"/>
                  <a:pt x="118855" y="16554"/>
                  <a:pt x="121920" y="15240"/>
                </a:cubicBezTo>
                <a:cubicBezTo>
                  <a:pt x="128523" y="12410"/>
                  <a:pt x="132080" y="5080"/>
                  <a:pt x="137160" y="0"/>
                </a:cubicBez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5821680" y="2065020"/>
            <a:ext cx="1661160" cy="2087880"/>
          </a:xfrm>
          <a:custGeom>
            <a:avLst/>
            <a:gdLst>
              <a:gd name="connsiteX0" fmla="*/ 0 w 1661160"/>
              <a:gd name="connsiteY0" fmla="*/ 1562100 h 2087880"/>
              <a:gd name="connsiteX1" fmla="*/ 137160 w 1661160"/>
              <a:gd name="connsiteY1" fmla="*/ 746760 h 2087880"/>
              <a:gd name="connsiteX2" fmla="*/ 1661160 w 1661160"/>
              <a:gd name="connsiteY2" fmla="*/ 0 h 2087880"/>
              <a:gd name="connsiteX3" fmla="*/ 1173480 w 1661160"/>
              <a:gd name="connsiteY3" fmla="*/ 1539240 h 2087880"/>
              <a:gd name="connsiteX4" fmla="*/ 601980 w 1661160"/>
              <a:gd name="connsiteY4" fmla="*/ 2087880 h 2087880"/>
              <a:gd name="connsiteX5" fmla="*/ 0 w 1661160"/>
              <a:gd name="connsiteY5" fmla="*/ 1562100 h 2087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1160" h="2087880">
                <a:moveTo>
                  <a:pt x="0" y="1562100"/>
                </a:moveTo>
                <a:lnTo>
                  <a:pt x="137160" y="746760"/>
                </a:lnTo>
                <a:lnTo>
                  <a:pt x="1661160" y="0"/>
                </a:lnTo>
                <a:lnTo>
                  <a:pt x="1173480" y="1539240"/>
                </a:lnTo>
                <a:lnTo>
                  <a:pt x="601980" y="2087880"/>
                </a:lnTo>
                <a:lnTo>
                  <a:pt x="0" y="156210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 w="28575">
            <a:solidFill>
              <a:schemeClr val="bg1"/>
            </a:solidFill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3223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_xfuhOkyd.hRLNgRV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Rwmm0Sh0CAYPL.4tWkhw"/>
</p:tagLst>
</file>

<file path=ppt/theme/theme1.xml><?xml version="1.0" encoding="utf-8"?>
<a:theme xmlns:a="http://schemas.openxmlformats.org/drawingml/2006/main" name="1_Dell Presentation Template 4x3ml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Dell Presentation Template 4x3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B7295A"/>
      </a:hlink>
      <a:folHlink>
        <a:srgbClr val="009BBB"/>
      </a:folHlink>
    </a:clrScheme>
    <a:fontScheme name="Dell TTF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Dell Presentation Template 4x3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B7295A"/>
      </a:hlink>
      <a:folHlink>
        <a:srgbClr val="009BBB"/>
      </a:folHlink>
    </a:clrScheme>
    <a:fontScheme name="Dell TTF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EBEE83C66E54EA9BED83B0A9A60DB" ma:contentTypeVersion="1" ma:contentTypeDescription="Create a new document." ma:contentTypeScope="" ma:versionID="51a43b2161297f783d65b37e357c79e9">
  <xsd:schema xmlns:xsd="http://www.w3.org/2001/XMLSchema" xmlns:p="http://schemas.microsoft.com/office/2006/metadata/properties" targetNamespace="http://schemas.microsoft.com/office/2006/metadata/properties" ma:root="true" ma:fieldsID="b9cfef283e0bc2d986a66f9ec0cdc4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0873BDD3-AA35-4F19-A12A-C6462BECFBD1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3332CB6-AB82-4DD3-8C89-C660A1C394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x3_Dell_PPTX_Template_BW1</Template>
  <TotalTime>75154</TotalTime>
  <Words>1221</Words>
  <Application>Microsoft Office PowerPoint</Application>
  <PresentationFormat>Předvádění na obrazovce (4:3)</PresentationFormat>
  <Paragraphs>441</Paragraphs>
  <Slides>29</Slides>
  <Notes>17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29</vt:i4>
      </vt:variant>
    </vt:vector>
  </HeadingPairs>
  <TitlesOfParts>
    <vt:vector size="39" baseType="lpstr">
      <vt:lpstr>Arial</vt:lpstr>
      <vt:lpstr>Museo For Dell</vt:lpstr>
      <vt:lpstr>Wingdings</vt:lpstr>
      <vt:lpstr>Arial Black</vt:lpstr>
      <vt:lpstr>Museo For Dell 300</vt:lpstr>
      <vt:lpstr>museo sans for dell</vt:lpstr>
      <vt:lpstr>Trebuchet MS</vt:lpstr>
      <vt:lpstr>1_Dell Presentation Template 4x3ml</vt:lpstr>
      <vt:lpstr>3_Dell Presentation Template 4x3</vt:lpstr>
      <vt:lpstr>4_Dell Presentation Template 4x3</vt:lpstr>
      <vt:lpstr>Dell internationalization     1984 to 2004</vt:lpstr>
      <vt:lpstr>Agenda</vt:lpstr>
      <vt:lpstr>Career Triangle – Ivan Mitringa, FCCA, CIA, CTP</vt:lpstr>
      <vt:lpstr>Dell evolution</vt:lpstr>
      <vt:lpstr>Pattern of International expansion</vt:lpstr>
      <vt:lpstr>Birth and Childhood (1983-1987)</vt:lpstr>
      <vt:lpstr>Start of international expansion (1987-1991)</vt:lpstr>
      <vt:lpstr>PC’s in the Mid 1990’s…</vt:lpstr>
      <vt:lpstr>Start of international expansion (1987-1991)</vt:lpstr>
      <vt:lpstr>Puberty (1991-1995)</vt:lpstr>
      <vt:lpstr>Puberty (1991-1995)</vt:lpstr>
      <vt:lpstr>Prezentace aplikace PowerPoint</vt:lpstr>
      <vt:lpstr>Internet era and exceptional growth (1995-2000)</vt:lpstr>
      <vt:lpstr>Internet era and exceptional growth (1995-2000)</vt:lpstr>
      <vt:lpstr>True Global Company (2000-2004)</vt:lpstr>
      <vt:lpstr>True Global Company (2000-2004)</vt:lpstr>
      <vt:lpstr>Stopford Model</vt:lpstr>
      <vt:lpstr>CIT and Dell</vt:lpstr>
      <vt:lpstr>Thank You</vt:lpstr>
      <vt:lpstr>Dell approach – Global commercial channel</vt:lpstr>
      <vt:lpstr>How does Michael Dell describe the Dell evolution?</vt:lpstr>
      <vt:lpstr>Dell’s commitment to customers</vt:lpstr>
      <vt:lpstr>Creating  global business units</vt:lpstr>
      <vt:lpstr>Dell organization based on the customer</vt:lpstr>
      <vt:lpstr>Regional structure to global SBUs</vt:lpstr>
      <vt:lpstr>Dell organization based on customers</vt:lpstr>
      <vt:lpstr>Financial reporting changes to reflect strategy</vt:lpstr>
      <vt:lpstr>Dell reflecting current IT trends</vt:lpstr>
      <vt:lpstr>Major IT trends</vt:lpstr>
    </vt:vector>
  </TitlesOfParts>
  <Company>Dell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l Presentation Template Standard 4:3 Layout</dc:title>
  <dc:creator>Marian_Hacik</dc:creator>
  <cp:keywords>Internal Use</cp:keywords>
  <cp:lastModifiedBy>Pirožek Petr</cp:lastModifiedBy>
  <cp:revision>383</cp:revision>
  <cp:lastPrinted>2000-07-17T22:36:56Z</cp:lastPrinted>
  <dcterms:created xsi:type="dcterms:W3CDTF">2011-10-31T09:20:21Z</dcterms:created>
  <dcterms:modified xsi:type="dcterms:W3CDTF">2014-03-04T11:1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EBEE83C66E54EA9BED83B0A9A60DB</vt:lpwstr>
  </property>
  <property fmtid="{D5CDD505-2E9C-101B-9397-08002B2CF9AE}" pid="3" name="TitusGUID">
    <vt:lpwstr>3b70597c-c68e-45e6-820c-21e030683886</vt:lpwstr>
  </property>
  <property fmtid="{D5CDD505-2E9C-101B-9397-08002B2CF9AE}" pid="4" name="DellClassification">
    <vt:lpwstr>Internal Use</vt:lpwstr>
  </property>
  <property fmtid="{D5CDD505-2E9C-101B-9397-08002B2CF9AE}" pid="5" name="DellSubLabels">
    <vt:lpwstr/>
  </property>
  <property fmtid="{D5CDD505-2E9C-101B-9397-08002B2CF9AE}" pid="6" name="DellVisual Markings (PPT)">
    <vt:lpwstr>Classification Footer</vt:lpwstr>
  </property>
  <property fmtid="{D5CDD505-2E9C-101B-9397-08002B2CF9AE}" pid="7" name="titusconfig">
    <vt:lpwstr>1.1EMEA</vt:lpwstr>
  </property>
</Properties>
</file>